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3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38" r:id="rId1"/>
    <p:sldMasterId id="2147483957" r:id="rId2"/>
    <p:sldMasterId id="2147483964" r:id="rId3"/>
  </p:sldMasterIdLst>
  <p:notesMasterIdLst>
    <p:notesMasterId r:id="rId13"/>
  </p:notesMasterIdLst>
  <p:handoutMasterIdLst>
    <p:handoutMasterId r:id="rId14"/>
  </p:handoutMasterIdLst>
  <p:sldIdLst>
    <p:sldId id="457" r:id="rId4"/>
    <p:sldId id="466" r:id="rId5"/>
    <p:sldId id="468" r:id="rId6"/>
    <p:sldId id="394" r:id="rId7"/>
    <p:sldId id="467" r:id="rId8"/>
    <p:sldId id="460" r:id="rId9"/>
    <p:sldId id="461" r:id="rId10"/>
    <p:sldId id="463" r:id="rId11"/>
    <p:sldId id="465" r:id="rId12"/>
  </p:sldIdLst>
  <p:sldSz cx="9144000" cy="5143500" type="screen16x9"/>
  <p:notesSz cx="6815138" cy="9944100"/>
  <p:defaultTextStyle>
    <a:defPPr>
      <a:defRPr lang="ru-RU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99"/>
    <a:srgbClr val="666699"/>
    <a:srgbClr val="1D817F"/>
    <a:srgbClr val="8497B0"/>
    <a:srgbClr val="1269AC"/>
    <a:srgbClr val="FFFFFF"/>
    <a:srgbClr val="996633"/>
    <a:srgbClr val="0099CC"/>
    <a:srgbClr val="00CCFF"/>
    <a:srgbClr val="00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75" autoAdjust="0"/>
    <p:restoredTop sz="94660"/>
  </p:normalViewPr>
  <p:slideViewPr>
    <p:cSldViewPr snapToGrid="0">
      <p:cViewPr varScale="1">
        <p:scale>
          <a:sx n="149" d="100"/>
          <a:sy n="149" d="100"/>
        </p:scale>
        <p:origin x="402" y="120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presProps" Target="pres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53969" cy="499272"/>
          </a:xfrm>
          <a:prstGeom prst="rect">
            <a:avLst/>
          </a:prstGeom>
        </p:spPr>
        <p:txBody>
          <a:bodyPr vert="horz" lIns="91597" tIns="45797" rIns="91597" bIns="45797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9578" y="3"/>
            <a:ext cx="2953969" cy="499272"/>
          </a:xfrm>
          <a:prstGeom prst="rect">
            <a:avLst/>
          </a:prstGeom>
        </p:spPr>
        <p:txBody>
          <a:bodyPr vert="horz" lIns="91597" tIns="45797" rIns="91597" bIns="45797" rtlCol="0"/>
          <a:lstStyle>
            <a:lvl1pPr algn="r">
              <a:defRPr sz="1200"/>
            </a:lvl1pPr>
          </a:lstStyle>
          <a:p>
            <a:fld id="{114EC1FC-27D4-44B5-BC72-97DE9D411405}" type="datetimeFigureOut">
              <a:rPr lang="ru-RU" smtClean="0"/>
              <a:pPr/>
              <a:t>29.05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4828"/>
            <a:ext cx="2953969" cy="499272"/>
          </a:xfrm>
          <a:prstGeom prst="rect">
            <a:avLst/>
          </a:prstGeom>
        </p:spPr>
        <p:txBody>
          <a:bodyPr vert="horz" lIns="91597" tIns="45797" rIns="91597" bIns="45797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9578" y="9444828"/>
            <a:ext cx="2953969" cy="499272"/>
          </a:xfrm>
          <a:prstGeom prst="rect">
            <a:avLst/>
          </a:prstGeom>
        </p:spPr>
        <p:txBody>
          <a:bodyPr vert="horz" lIns="91597" tIns="45797" rIns="91597" bIns="45797" rtlCol="0" anchor="b"/>
          <a:lstStyle>
            <a:lvl1pPr algn="r">
              <a:defRPr sz="1200"/>
            </a:lvl1pPr>
          </a:lstStyle>
          <a:p>
            <a:fld id="{69241CA7-BA07-4350-811B-D49F8C50A64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310363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3" y="0"/>
            <a:ext cx="2953226" cy="498932"/>
          </a:xfrm>
          <a:prstGeom prst="rect">
            <a:avLst/>
          </a:prstGeom>
        </p:spPr>
        <p:txBody>
          <a:bodyPr vert="horz" lIns="91597" tIns="45797" rIns="91597" bIns="45797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60337" y="0"/>
            <a:ext cx="2953226" cy="498932"/>
          </a:xfrm>
          <a:prstGeom prst="rect">
            <a:avLst/>
          </a:prstGeom>
        </p:spPr>
        <p:txBody>
          <a:bodyPr vert="horz" lIns="91597" tIns="45797" rIns="91597" bIns="45797" rtlCol="0"/>
          <a:lstStyle>
            <a:lvl1pPr algn="r">
              <a:defRPr sz="1200"/>
            </a:lvl1pPr>
          </a:lstStyle>
          <a:p>
            <a:fld id="{54460BB4-ED1F-43E9-987B-B3D004876374}" type="datetimeFigureOut">
              <a:rPr lang="ru-RU" smtClean="0"/>
              <a:pPr/>
              <a:t>29.05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3013"/>
            <a:ext cx="5967412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97" tIns="45797" rIns="91597" bIns="45797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1515" y="4785600"/>
            <a:ext cx="5452110" cy="3915490"/>
          </a:xfrm>
          <a:prstGeom prst="rect">
            <a:avLst/>
          </a:prstGeom>
        </p:spPr>
        <p:txBody>
          <a:bodyPr vert="horz" lIns="91597" tIns="45797" rIns="91597" bIns="45797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3" y="9445169"/>
            <a:ext cx="2953226" cy="498931"/>
          </a:xfrm>
          <a:prstGeom prst="rect">
            <a:avLst/>
          </a:prstGeom>
        </p:spPr>
        <p:txBody>
          <a:bodyPr vert="horz" lIns="91597" tIns="45797" rIns="91597" bIns="45797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60337" y="9445169"/>
            <a:ext cx="2953226" cy="498931"/>
          </a:xfrm>
          <a:prstGeom prst="rect">
            <a:avLst/>
          </a:prstGeom>
        </p:spPr>
        <p:txBody>
          <a:bodyPr vert="horz" lIns="91597" tIns="45797" rIns="91597" bIns="45797" rtlCol="0" anchor="b"/>
          <a:lstStyle>
            <a:lvl1pPr algn="r">
              <a:defRPr sz="1200"/>
            </a:lvl1pPr>
          </a:lstStyle>
          <a:p>
            <a:fld id="{3D247DD9-C588-4D3E-A1B3-F5353445932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004844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610757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083513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913452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078572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312655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9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 bwMode="auto">
          <a:xfrm>
            <a:off x="8962127" y="4980521"/>
            <a:ext cx="92974" cy="9387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635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61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6353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61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87080" y="125687"/>
            <a:ext cx="8769841" cy="435812"/>
          </a:xfrm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spcAft>
                <a:spcPts val="166"/>
              </a:spcAft>
              <a:buFontTx/>
              <a:buNone/>
              <a:defRPr sz="1800" b="1">
                <a:latin typeface="Century Gothic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" name="Группа 1"/>
          <p:cNvGrpSpPr/>
          <p:nvPr userDrawn="1"/>
        </p:nvGrpSpPr>
        <p:grpSpPr>
          <a:xfrm>
            <a:off x="187081" y="561501"/>
            <a:ext cx="8769841" cy="34289"/>
            <a:chOff x="103189" y="1021080"/>
            <a:chExt cx="9500661" cy="45719"/>
          </a:xfrm>
          <a:solidFill>
            <a:schemeClr val="bg1">
              <a:lumMod val="50000"/>
            </a:schemeClr>
          </a:solidFill>
        </p:grpSpPr>
        <p:sp>
          <p:nvSpPr>
            <p:cNvPr id="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0521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5469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0417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5366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0314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5262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0210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5158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0106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5054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0002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4950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9898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4847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9795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4743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9691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4639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9587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04535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09483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14431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19379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24328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29276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34224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39172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44120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49068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54016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58964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63912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68860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73809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78757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83705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88653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93601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98549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03497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08445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13393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18341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23290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28238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33186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38134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43082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48030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52978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57926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62874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67822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72771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77719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82667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87615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92563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97511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02459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07407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12355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17303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22252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27200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32148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37096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42044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46992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51940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56888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61836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66784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71733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76681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81629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86577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91525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96473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01421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06369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11317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16265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21214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26162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31110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36058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41006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45954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50902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55850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60798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65746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70695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75643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80591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85539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90487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95435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00383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05331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10279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15227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20176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25124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30072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35020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39968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44916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49864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54812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59760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64708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69657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74605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79553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84501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89449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94397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99345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04293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09241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14189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19138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24086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29034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33982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38930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43878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48826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53774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58722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63670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68619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73567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78515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83463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88411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93359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98307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03255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08203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13151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18100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23048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27996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32944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37892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42840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47788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52736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57684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62632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67581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72529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77477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82425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87373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92321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97269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02217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07165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12113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17062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22010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26958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31906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36854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41802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46750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51698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56646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61594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66543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71491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76439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81387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86335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91283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96231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01179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06127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11075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16024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20972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25920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30868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35816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40764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45712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50660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1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55610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809115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xmlns="" id="{20D62EEF-71F8-4F55-8521-893C5C7B6645}"/>
              </a:ext>
            </a:extLst>
          </p:cNvPr>
          <p:cNvCxnSpPr>
            <a:cxnSpLocks/>
          </p:cNvCxnSpPr>
          <p:nvPr/>
        </p:nvCxnSpPr>
        <p:spPr>
          <a:xfrm>
            <a:off x="502897" y="667569"/>
            <a:ext cx="8133793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xmlns="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07774" y="262686"/>
            <a:ext cx="8131168" cy="31647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204"/>
              </a:spcAft>
              <a:buFontTx/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116">
            <a:extLst>
              <a:ext uri="{FF2B5EF4-FFF2-40B4-BE49-F238E27FC236}">
                <a16:creationId xmlns:a16="http://schemas.microsoft.com/office/drawing/2014/main" xmlns="" id="{9D1D5787-3E91-4FEA-AB0C-57078295F086}"/>
              </a:ext>
            </a:extLst>
          </p:cNvPr>
          <p:cNvSpPr/>
          <p:nvPr/>
        </p:nvSpPr>
        <p:spPr>
          <a:xfrm>
            <a:off x="8908951" y="4933299"/>
            <a:ext cx="127151" cy="12695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 defTabSz="781960">
              <a:defRPr/>
            </a:pPr>
            <a:fld id="{7109CE21-7FC1-49DC-910A-F2C968E54205}" type="slidenum">
              <a:rPr lang="en-US" sz="825" spc="-7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defTabSz="781960">
                <a:defRPr/>
              </a:pPr>
              <a:t>‹#›</a:t>
            </a:fld>
            <a:endParaRPr lang="en-US" sz="825" spc="-7" dirty="0">
              <a:solidFill>
                <a:srgbClr val="2E2E3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77273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381">
          <p15:clr>
            <a:srgbClr val="FBAE40"/>
          </p15:clr>
        </p15:guide>
        <p15:guide id="2" pos="636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D451C9F8-CD44-49B3-9349-45FE6EA60B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216"/>
          <a:ext cx="1620" cy="12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216"/>
                        <a:ext cx="1620" cy="121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B3E0B84D-EB8B-4BBA-8DC1-EF6272CF35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57200">
              <a:defRPr/>
            </a:pPr>
            <a:endParaRPr lang="en-US" sz="1400" dirty="0">
              <a:solidFill>
                <a:srgbClr val="000000"/>
              </a:solidFill>
              <a:latin typeface="Segoe UI Black" panose="020B0A02040204020203" pitchFamily="34" charset="0"/>
              <a:ea typeface="ＭＳ Ｐゴシック"/>
              <a:sym typeface="Segoe UI Black" panose="020B0A02040204020203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74946" y="142509"/>
            <a:ext cx="8794113" cy="22374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841476" y="4980360"/>
            <a:ext cx="96180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defTabSz="457200">
              <a:defRPr/>
            </a:pPr>
            <a:fld id="{42C328C1-A84F-4A39-A664-DBA00541A8C6}" type="slidenum">
              <a:rPr lang="ru-RU" sz="600" smtClean="0">
                <a:solidFill>
                  <a:srgbClr val="808080"/>
                </a:solidFill>
                <a:latin typeface="Segoe UI Light"/>
                <a:ea typeface="ＭＳ Ｐゴシック"/>
              </a:rPr>
              <a:pPr defTabSz="457200">
                <a:defRPr/>
              </a:pPr>
              <a:t>‹#›</a:t>
            </a:fld>
            <a:endParaRPr lang="ru-RU" sz="600" dirty="0">
              <a:solidFill>
                <a:srgbClr val="808080"/>
              </a:solidFill>
              <a:latin typeface="Segoe UI Light"/>
              <a:ea typeface="ＭＳ Ｐゴシック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05">
              <a:defRPr/>
            </a:pPr>
            <a:endParaRPr lang="ru-RU" sz="600" dirty="0">
              <a:solidFill>
                <a:srgbClr val="808080"/>
              </a:solidFill>
              <a:latin typeface="Segoe UI Light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477000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437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9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 bwMode="auto">
          <a:xfrm>
            <a:off x="8962127" y="4980521"/>
            <a:ext cx="92974" cy="9387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defTabSz="635342">
              <a:defRPr/>
            </a:pPr>
            <a:fld id="{42C328C1-A84F-4A39-A664-DBA00541A8C6}" type="slidenum">
              <a:rPr lang="ru-RU" sz="610" smtClean="0">
                <a:solidFill>
                  <a:srgbClr val="808080"/>
                </a:solidFill>
              </a:rPr>
              <a:pPr defTabSz="635342">
                <a:defRPr/>
              </a:pPr>
              <a:t>‹#›</a:t>
            </a:fld>
            <a:endParaRPr lang="ru-RU" sz="610" dirty="0">
              <a:solidFill>
                <a:srgbClr val="808080"/>
              </a:solidFill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87080" y="125687"/>
            <a:ext cx="8769841" cy="435812"/>
          </a:xfrm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spcAft>
                <a:spcPts val="166"/>
              </a:spcAft>
              <a:buFontTx/>
              <a:buNone/>
              <a:defRPr sz="1800" b="1">
                <a:latin typeface="Century Gothic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" name="Группа 1"/>
          <p:cNvGrpSpPr/>
          <p:nvPr userDrawn="1"/>
        </p:nvGrpSpPr>
        <p:grpSpPr>
          <a:xfrm>
            <a:off x="187081" y="561501"/>
            <a:ext cx="8769841" cy="34289"/>
            <a:chOff x="103189" y="1021080"/>
            <a:chExt cx="9500661" cy="45719"/>
          </a:xfrm>
          <a:solidFill>
            <a:schemeClr val="bg1">
              <a:lumMod val="50000"/>
            </a:schemeClr>
          </a:solidFill>
        </p:grpSpPr>
        <p:sp>
          <p:nvSpPr>
            <p:cNvPr id="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0521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5469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0417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5366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0314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5262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0210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5158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0106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5054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0002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4950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9898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4847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9795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4743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9691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4639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9587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04535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09483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14431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19379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24328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29276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34224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39172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44120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49068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54016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58964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63912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68860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73809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78757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83705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88653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93601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98549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03497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08445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13393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18341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23290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28238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33186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38134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43082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48030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52978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57926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62874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67822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72771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77719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82667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87615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92563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97511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02459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07407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12355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17303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22252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27200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32148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37096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42044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46992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51940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56888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61836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66784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71733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76681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81629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86577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91525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96473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01421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06369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11317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16265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21214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26162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31110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36058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41006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45954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50902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55850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60798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65746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70695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75643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80591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85539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90487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95435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00383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05331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10279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15227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20176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25124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30072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35020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39968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44916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49864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54812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59760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64708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69657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74605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79553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84501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89449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94397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99345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04293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09241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14189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19138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24086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29034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33982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38930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43878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48826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53774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58722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63670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68619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73567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78515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83463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88411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93359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98307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03255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08203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13151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18100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23048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27996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32944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37892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42840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47788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52736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57684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62632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67581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72529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77477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82425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87373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92321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97269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02217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07165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12113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17062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22010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26958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31906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36854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41802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46750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51698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56646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61594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66543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71491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76439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81387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86335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91283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96231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01179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06127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11075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16024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20972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25920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30868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35816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40764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45712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50660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1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55610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887111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3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"/>
          <p:cNvSpPr txBox="1">
            <a:spLocks/>
          </p:cNvSpPr>
          <p:nvPr userDrawn="1"/>
        </p:nvSpPr>
        <p:spPr bwMode="auto">
          <a:xfrm>
            <a:off x="8962127" y="4980521"/>
            <a:ext cx="92974" cy="9387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defTabSz="635342">
              <a:defRPr/>
            </a:pPr>
            <a:fld id="{42C328C1-A84F-4A39-A664-DBA00541A8C6}" type="slidenum">
              <a:rPr lang="ru-RU" sz="610" smtClean="0">
                <a:solidFill>
                  <a:srgbClr val="808080"/>
                </a:solidFill>
              </a:rPr>
              <a:pPr defTabSz="635342">
                <a:defRPr/>
              </a:pPr>
              <a:t>‹#›</a:t>
            </a:fld>
            <a:endParaRPr lang="ru-RU" sz="610" dirty="0">
              <a:solidFill>
                <a:srgbClr val="808080"/>
              </a:solidFill>
            </a:endParaRPr>
          </a:p>
        </p:txBody>
      </p:sp>
      <p:grpSp>
        <p:nvGrpSpPr>
          <p:cNvPr id="10" name="Группа 9"/>
          <p:cNvGrpSpPr/>
          <p:nvPr userDrawn="1"/>
        </p:nvGrpSpPr>
        <p:grpSpPr>
          <a:xfrm>
            <a:off x="187081" y="561501"/>
            <a:ext cx="8769841" cy="34289"/>
            <a:chOff x="103189" y="1021080"/>
            <a:chExt cx="9500661" cy="45719"/>
          </a:xfrm>
          <a:solidFill>
            <a:schemeClr val="bg1">
              <a:lumMod val="50000"/>
            </a:schemeClr>
          </a:solidFill>
        </p:grpSpPr>
        <p:sp>
          <p:nvSpPr>
            <p:cNvPr id="1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0521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5469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0417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5366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0314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5262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0210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5158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0106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5054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0002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4950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9898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4847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9795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4743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9691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4639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9587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04535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09483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14431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19379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24328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29276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34224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39172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44120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49068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54016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58964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63912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68860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73809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78757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83705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88653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93601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98549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03497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08445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13393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18341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23290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28238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33186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38134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43082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48030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52978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57926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62874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67822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72771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77719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82667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87615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92563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97511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02459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07407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12355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17303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22252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27200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32148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37096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42044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46992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51940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56888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61836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66784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71733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76681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81629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86577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91525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96473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01421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06369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11317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16265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21214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26162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31110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36058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41006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45954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50902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55850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60798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65746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70695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75643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80591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85539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90487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95435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00383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05331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10279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15227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20176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25124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30072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35020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39968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44916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49864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54812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59760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64708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69657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74605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79553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84501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89449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94397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99345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04293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09241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14189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19138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24086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29034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33982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38930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43878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48826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53774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58722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63670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68619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73567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78515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83463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88411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93359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98307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03255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08203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13151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18100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23048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27996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32944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37892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42840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47788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52736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57684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62632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67581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72529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77477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82425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87373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92321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97269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02217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07165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12113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17062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22010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26958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31906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36854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41802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46750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51698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56646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61594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66543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71491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76439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81387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86335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91283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96231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01179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06127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11075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16024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20972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25920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30868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35816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40764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45712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50660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55610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203" name="Content Placeholder 5">
            <a:extLst>
              <a:ext uri="{FF2B5EF4-FFF2-40B4-BE49-F238E27FC236}">
                <a16:creationId xmlns:a16="http://schemas.microsoft.com/office/drawing/2014/main" xmlns="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87080" y="125687"/>
            <a:ext cx="8769841" cy="435812"/>
          </a:xfrm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spcAft>
                <a:spcPts val="166"/>
              </a:spcAft>
              <a:buFontTx/>
              <a:buNone/>
              <a:defRPr sz="1800" b="1">
                <a:latin typeface="Century Gothic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837850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5C2C38-CD05-49DA-BB2A-90CF37ABC36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91523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4321386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xmlns="" id="{20D62EEF-71F8-4F55-8521-893C5C7B6645}"/>
              </a:ext>
            </a:extLst>
          </p:cNvPr>
          <p:cNvCxnSpPr>
            <a:cxnSpLocks/>
          </p:cNvCxnSpPr>
          <p:nvPr/>
        </p:nvCxnSpPr>
        <p:spPr>
          <a:xfrm>
            <a:off x="502897" y="667569"/>
            <a:ext cx="8133793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xmlns="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07774" y="262686"/>
            <a:ext cx="8131168" cy="31647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204"/>
              </a:spcAft>
              <a:buFontTx/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116">
            <a:extLst>
              <a:ext uri="{FF2B5EF4-FFF2-40B4-BE49-F238E27FC236}">
                <a16:creationId xmlns:a16="http://schemas.microsoft.com/office/drawing/2014/main" xmlns="" id="{9D1D5787-3E91-4FEA-AB0C-57078295F086}"/>
              </a:ext>
            </a:extLst>
          </p:cNvPr>
          <p:cNvSpPr/>
          <p:nvPr/>
        </p:nvSpPr>
        <p:spPr>
          <a:xfrm>
            <a:off x="8908951" y="4933299"/>
            <a:ext cx="127151" cy="12695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 defTabSz="781960">
              <a:defRPr/>
            </a:pPr>
            <a:fld id="{7109CE21-7FC1-49DC-910A-F2C968E54205}" type="slidenum">
              <a:rPr lang="en-US" sz="825" spc="-7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defTabSz="781960">
                <a:defRPr/>
              </a:pPr>
              <a:t>‹#›</a:t>
            </a:fld>
            <a:endParaRPr lang="en-US" sz="825" spc="-7" dirty="0">
              <a:solidFill>
                <a:srgbClr val="2E2E3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913461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381">
          <p15:clr>
            <a:srgbClr val="FBAE40"/>
          </p15:clr>
        </p15:guide>
        <p15:guide id="2" pos="6362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D451C9F8-CD44-49B3-9349-45FE6EA60B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216"/>
          <a:ext cx="1620" cy="12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216"/>
                        <a:ext cx="1620" cy="121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B3E0B84D-EB8B-4BBA-8DC1-EF6272CF35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57200">
              <a:defRPr/>
            </a:pPr>
            <a:endParaRPr lang="en-US" sz="1400" dirty="0">
              <a:solidFill>
                <a:srgbClr val="000000"/>
              </a:solidFill>
              <a:latin typeface="Segoe UI Black" panose="020B0A02040204020203" pitchFamily="34" charset="0"/>
              <a:ea typeface="ＭＳ Ｐゴシック"/>
              <a:sym typeface="Segoe UI Black" panose="020B0A02040204020203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74946" y="142509"/>
            <a:ext cx="8794113" cy="22374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841476" y="4980360"/>
            <a:ext cx="96180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defTabSz="457200">
              <a:defRPr/>
            </a:pPr>
            <a:fld id="{42C328C1-A84F-4A39-A664-DBA00541A8C6}" type="slidenum">
              <a:rPr lang="ru-RU" sz="600" smtClean="0">
                <a:solidFill>
                  <a:srgbClr val="808080"/>
                </a:solidFill>
                <a:latin typeface="Segoe UI Light"/>
                <a:ea typeface="ＭＳ Ｐゴシック"/>
              </a:rPr>
              <a:pPr defTabSz="457200">
                <a:defRPr/>
              </a:pPr>
              <a:t>‹#›</a:t>
            </a:fld>
            <a:endParaRPr lang="ru-RU" sz="600" dirty="0">
              <a:solidFill>
                <a:srgbClr val="808080"/>
              </a:solidFill>
              <a:latin typeface="Segoe UI Light"/>
              <a:ea typeface="ＭＳ Ｐゴシック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05">
              <a:defRPr/>
            </a:pPr>
            <a:endParaRPr lang="ru-RU" sz="600" dirty="0">
              <a:solidFill>
                <a:srgbClr val="808080"/>
              </a:solidFill>
              <a:latin typeface="Segoe UI Light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22462197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437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3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"/>
          <p:cNvSpPr txBox="1">
            <a:spLocks/>
          </p:cNvSpPr>
          <p:nvPr userDrawn="1"/>
        </p:nvSpPr>
        <p:spPr bwMode="auto">
          <a:xfrm>
            <a:off x="8962127" y="4980521"/>
            <a:ext cx="92974" cy="9387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635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61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6353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61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0" name="Группа 9"/>
          <p:cNvGrpSpPr/>
          <p:nvPr userDrawn="1"/>
        </p:nvGrpSpPr>
        <p:grpSpPr>
          <a:xfrm>
            <a:off x="187081" y="561501"/>
            <a:ext cx="8769841" cy="34289"/>
            <a:chOff x="103189" y="1021080"/>
            <a:chExt cx="9500661" cy="45719"/>
          </a:xfrm>
          <a:solidFill>
            <a:schemeClr val="bg1">
              <a:lumMod val="50000"/>
            </a:schemeClr>
          </a:solidFill>
        </p:grpSpPr>
        <p:sp>
          <p:nvSpPr>
            <p:cNvPr id="1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0521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5469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0417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5366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0314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5262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0210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5158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0106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5054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0002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4950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9898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4847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9795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4743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9691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4639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9587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04535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09483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14431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19379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24328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29276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34224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39172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44120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49068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54016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58964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63912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68860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73809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78757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83705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88653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93601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98549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03497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08445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13393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18341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23290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28238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33186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38134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43082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48030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52978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57926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62874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67822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72771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77719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82667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87615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92563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97511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02459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07407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12355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17303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22252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27200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32148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37096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42044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46992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51940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56888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61836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66784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71733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76681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81629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86577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91525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96473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01421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06369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11317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16265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21214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26162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31110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36058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41006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45954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50902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55850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60798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65746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70695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75643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80591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85539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90487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95435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00383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05331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10279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15227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20176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25124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30072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35020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39968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44916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49864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54812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59760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64708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69657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74605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79553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84501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89449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94397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99345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04293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09241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14189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19138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24086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29034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33982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38930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43878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48826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53774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58722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63670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68619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73567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78515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83463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88411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93359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98307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03255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08203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13151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18100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23048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27996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32944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37892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42840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47788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52736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57684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62632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67581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72529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77477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82425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87373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92321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97269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02217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07165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12113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17062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22010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26958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31906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36854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41802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46750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51698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56646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61594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66543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71491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76439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81387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86335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91283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96231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01179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06127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11075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16024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20972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25920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30868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35816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40764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45712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50660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55610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203" name="Content Placeholder 5">
            <a:extLst>
              <a:ext uri="{FF2B5EF4-FFF2-40B4-BE49-F238E27FC236}">
                <a16:creationId xmlns:a16="http://schemas.microsoft.com/office/drawing/2014/main" xmlns="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87080" y="125687"/>
            <a:ext cx="8769841" cy="435812"/>
          </a:xfrm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spcAft>
                <a:spcPts val="166"/>
              </a:spcAft>
              <a:buFontTx/>
              <a:buNone/>
              <a:defRPr sz="1800" b="1">
                <a:latin typeface="Century Gothic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672327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5C2C38-CD05-49DA-BB2A-90CF37ABC367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423709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xmlns="" id="{20D62EEF-71F8-4F55-8521-893C5C7B6645}"/>
              </a:ext>
            </a:extLst>
          </p:cNvPr>
          <p:cNvCxnSpPr>
            <a:cxnSpLocks/>
          </p:cNvCxnSpPr>
          <p:nvPr/>
        </p:nvCxnSpPr>
        <p:spPr>
          <a:xfrm>
            <a:off x="502897" y="667569"/>
            <a:ext cx="8133793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xmlns="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07774" y="262686"/>
            <a:ext cx="8131168" cy="31647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204"/>
              </a:spcAft>
              <a:buFontTx/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116">
            <a:extLst>
              <a:ext uri="{FF2B5EF4-FFF2-40B4-BE49-F238E27FC236}">
                <a16:creationId xmlns:a16="http://schemas.microsoft.com/office/drawing/2014/main" xmlns="" id="{9D1D5787-3E91-4FEA-AB0C-57078295F086}"/>
              </a:ext>
            </a:extLst>
          </p:cNvPr>
          <p:cNvSpPr/>
          <p:nvPr/>
        </p:nvSpPr>
        <p:spPr>
          <a:xfrm>
            <a:off x="8908951" y="4933299"/>
            <a:ext cx="127151" cy="12695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r" defTabSz="7819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09CE21-7FC1-49DC-910A-F2C968E54205}" type="slidenum">
              <a:rPr kumimoji="0" lang="en-US" sz="825" b="0" i="0" u="none" strike="noStrike" kern="1200" cap="none" spc="-7" normalizeH="0" baseline="0" noProof="0" smtClean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7819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25" b="0" i="0" u="none" strike="noStrike" kern="1200" cap="none" spc="-7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438154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381">
          <p15:clr>
            <a:srgbClr val="FBAE40"/>
          </p15:clr>
        </p15:guide>
        <p15:guide id="2" pos="636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D451C9F8-CD44-49B3-9349-45FE6EA60B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216"/>
          <a:ext cx="1620" cy="12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216"/>
                        <a:ext cx="1620" cy="121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B3E0B84D-EB8B-4BBA-8DC1-EF6272CF35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Black" panose="020B0A02040204020203" pitchFamily="34" charset="0"/>
              <a:ea typeface="ＭＳ Ｐゴシック"/>
              <a:cs typeface="+mn-cs"/>
              <a:sym typeface="Segoe UI Black" panose="020B0A02040204020203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74946" y="142509"/>
            <a:ext cx="8794113" cy="22374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841476" y="4980360"/>
            <a:ext cx="96180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60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6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Segoe UI Light"/>
              <a:ea typeface="ＭＳ Ｐゴシック"/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685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6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Segoe UI Light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4004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437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9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 bwMode="auto">
          <a:xfrm>
            <a:off x="8962127" y="4980521"/>
            <a:ext cx="92974" cy="9387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defTabSz="635342">
              <a:defRPr/>
            </a:pPr>
            <a:fld id="{42C328C1-A84F-4A39-A664-DBA00541A8C6}" type="slidenum">
              <a:rPr lang="ru-RU" sz="610" smtClean="0">
                <a:solidFill>
                  <a:srgbClr val="808080"/>
                </a:solidFill>
              </a:rPr>
              <a:pPr defTabSz="635342">
                <a:defRPr/>
              </a:pPr>
              <a:t>‹#›</a:t>
            </a:fld>
            <a:endParaRPr lang="ru-RU" sz="610" dirty="0">
              <a:solidFill>
                <a:srgbClr val="808080"/>
              </a:solidFill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87080" y="125687"/>
            <a:ext cx="8769841" cy="435812"/>
          </a:xfrm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spcAft>
                <a:spcPts val="166"/>
              </a:spcAft>
              <a:buFontTx/>
              <a:buNone/>
              <a:defRPr sz="1800" b="1">
                <a:latin typeface="Century Gothic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" name="Группа 1"/>
          <p:cNvGrpSpPr/>
          <p:nvPr userDrawn="1"/>
        </p:nvGrpSpPr>
        <p:grpSpPr>
          <a:xfrm>
            <a:off x="187081" y="561501"/>
            <a:ext cx="8769841" cy="34289"/>
            <a:chOff x="103189" y="1021080"/>
            <a:chExt cx="9500661" cy="45719"/>
          </a:xfrm>
          <a:solidFill>
            <a:schemeClr val="bg1">
              <a:lumMod val="50000"/>
            </a:schemeClr>
          </a:solidFill>
        </p:grpSpPr>
        <p:sp>
          <p:nvSpPr>
            <p:cNvPr id="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0521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5469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0417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5366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0314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5262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0210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5158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0106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5054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0002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4950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9898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4847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9795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4743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9691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4639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9587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04535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09483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14431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19379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24328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29276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34224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39172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44120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49068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54016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58964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63912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68860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73809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78757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83705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88653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93601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98549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03497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08445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13393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18341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23290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28238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33186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38134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43082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48030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52978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57926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62874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67822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72771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77719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82667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87615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92563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97511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02459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07407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12355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17303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22252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27200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32148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37096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42044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46992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51940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56888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61836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66784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71733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76681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81629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86577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91525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96473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01421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06369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11317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16265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21214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26162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31110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36058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41006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45954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50902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55850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60798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65746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70695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75643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80591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85539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90487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95435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00383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05331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10279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15227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20176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25124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30072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35020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39968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44916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49864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54812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59760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64708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69657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74605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79553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84501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89449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94397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99345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04293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09241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14189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19138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24086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29034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33982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38930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43878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48826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53774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58722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63670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68619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73567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78515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83463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88411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93359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98307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03255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08203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13151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18100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23048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27996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32944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37892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42840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47788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52736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57684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62632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67581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72529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77477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82425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87373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92321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97269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02217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07165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12113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17062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22010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26958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31906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36854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41802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46750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51698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56646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61594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66543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71491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76439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81387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86335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91283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96231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01179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06127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11075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16024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20972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25920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30868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35816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40764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45712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50660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1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55610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2685942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3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"/>
          <p:cNvSpPr txBox="1">
            <a:spLocks/>
          </p:cNvSpPr>
          <p:nvPr userDrawn="1"/>
        </p:nvSpPr>
        <p:spPr bwMode="auto">
          <a:xfrm>
            <a:off x="8962127" y="4980521"/>
            <a:ext cx="92974" cy="9387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defTabSz="635342">
              <a:defRPr/>
            </a:pPr>
            <a:fld id="{42C328C1-A84F-4A39-A664-DBA00541A8C6}" type="slidenum">
              <a:rPr lang="ru-RU" sz="610" smtClean="0">
                <a:solidFill>
                  <a:srgbClr val="808080"/>
                </a:solidFill>
              </a:rPr>
              <a:pPr defTabSz="635342">
                <a:defRPr/>
              </a:pPr>
              <a:t>‹#›</a:t>
            </a:fld>
            <a:endParaRPr lang="ru-RU" sz="610" dirty="0">
              <a:solidFill>
                <a:srgbClr val="808080"/>
              </a:solidFill>
            </a:endParaRPr>
          </a:p>
        </p:txBody>
      </p:sp>
      <p:grpSp>
        <p:nvGrpSpPr>
          <p:cNvPr id="10" name="Группа 9"/>
          <p:cNvGrpSpPr/>
          <p:nvPr userDrawn="1"/>
        </p:nvGrpSpPr>
        <p:grpSpPr>
          <a:xfrm>
            <a:off x="187081" y="561501"/>
            <a:ext cx="8769841" cy="34289"/>
            <a:chOff x="103189" y="1021080"/>
            <a:chExt cx="9500661" cy="45719"/>
          </a:xfrm>
          <a:solidFill>
            <a:schemeClr val="bg1">
              <a:lumMod val="50000"/>
            </a:schemeClr>
          </a:solidFill>
        </p:grpSpPr>
        <p:sp>
          <p:nvSpPr>
            <p:cNvPr id="1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0521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5469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0417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5366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0314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5262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0210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5158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0106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5054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0002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4950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9898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4847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9795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4743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9691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4639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9587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04535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09483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14431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19379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24328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29276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34224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39172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44120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49068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54016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58964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63912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68860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73809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78757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83705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88653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93601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98549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03497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08445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13393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18341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23290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28238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33186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38134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43082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48030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52978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57926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62874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67822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72771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77719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82667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87615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92563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97511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02459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07407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12355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17303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22252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27200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32148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37096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42044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46992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51940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56888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61836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66784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71733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76681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81629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86577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91525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96473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01421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06369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11317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16265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21214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26162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31110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36058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41006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45954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50902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55850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60798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65746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70695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75643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80591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85539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90487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95435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00383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05331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10279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15227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20176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25124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30072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35020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39968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44916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49864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54812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59760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64708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69657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74605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79553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84501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89449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94397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99345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04293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09241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14189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19138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24086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29034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33982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38930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43878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48826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53774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58722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63670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68619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73567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78515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83463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88411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93359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98307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03255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08203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13151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18100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23048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27996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32944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37892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42840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47788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52736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57684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62632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67581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72529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77477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82425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87373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92321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97269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02217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07165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12113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17062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22010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26958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31906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36854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41802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46750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51698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56646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61594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66543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71491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76439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81387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86335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91283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96231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01179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06127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3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11075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4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16024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5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20972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6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25920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7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30868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8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35816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9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40764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0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45712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1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50660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2" name="Graphic 1">
              <a:extLst>
                <a:ext uri="{FF2B5EF4-FFF2-40B4-BE49-F238E27FC236}">
                  <a16:creationId xmlns:a16="http://schemas.microsoft.com/office/drawing/2014/main" xmlns="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55610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203" name="Content Placeholder 5">
            <a:extLst>
              <a:ext uri="{FF2B5EF4-FFF2-40B4-BE49-F238E27FC236}">
                <a16:creationId xmlns:a16="http://schemas.microsoft.com/office/drawing/2014/main" xmlns="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87080" y="125687"/>
            <a:ext cx="8769841" cy="435812"/>
          </a:xfrm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spcAft>
                <a:spcPts val="166"/>
              </a:spcAft>
              <a:buFontTx/>
              <a:buNone/>
              <a:defRPr sz="1800" b="1">
                <a:latin typeface="Century Gothic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8402001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5C2C38-CD05-49DA-BB2A-90CF37ABC36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44963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5134913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5" Type="http://schemas.openxmlformats.org/officeDocument/2006/relationships/slideLayout" Target="../slideLayouts/slideLayout10.xml"/><Relationship Id="rId4" Type="http://schemas.openxmlformats.org/officeDocument/2006/relationships/slideLayout" Target="../slideLayouts/slideLayout9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3F6AC95F-4B5F-4D05-896E-82E6C0F529BD}" type="datetimeFigureOut">
              <a:rPr lang="ru-RU" smtClean="0"/>
              <a:pPr>
                <a:defRPr/>
              </a:pPr>
              <a:t>29.05.2023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6020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1" r:id="rId1"/>
    <p:sldLayoutId id="2147483952" r:id="rId2"/>
    <p:sldLayoutId id="2147483953" r:id="rId3"/>
    <p:sldLayoutId id="2147483955" r:id="rId4"/>
    <p:sldLayoutId id="2147483956" r:id="rId5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3F6AC95F-4B5F-4D05-896E-82E6C0F529B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9.05.2023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16651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8" r:id="rId1"/>
    <p:sldLayoutId id="2147483959" r:id="rId2"/>
    <p:sldLayoutId id="2147483960" r:id="rId3"/>
    <p:sldLayoutId id="2147483961" r:id="rId4"/>
    <p:sldLayoutId id="2147483962" r:id="rId5"/>
    <p:sldLayoutId id="2147483963" r:id="rId6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3F6AC95F-4B5F-4D05-896E-82E6C0F529B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9.05.2023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88229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5" r:id="rId1"/>
    <p:sldLayoutId id="2147483966" r:id="rId2"/>
    <p:sldLayoutId id="2147483967" r:id="rId3"/>
    <p:sldLayoutId id="2147483968" r:id="rId4"/>
    <p:sldLayoutId id="2147483969" r:id="rId5"/>
    <p:sldLayoutId id="2147483970" r:id="rId6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image" Target="../media/image9.png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5.png"/><Relationship Id="rId2" Type="http://schemas.openxmlformats.org/officeDocument/2006/relationships/tags" Target="../tags/tag8.xml"/><Relationship Id="rId16" Type="http://schemas.openxmlformats.org/officeDocument/2006/relationships/image" Target="../media/image12.png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image" Target="../media/image4.png"/><Relationship Id="rId5" Type="http://schemas.openxmlformats.org/officeDocument/2006/relationships/tags" Target="../tags/tag11.xml"/><Relationship Id="rId15" Type="http://schemas.openxmlformats.org/officeDocument/2006/relationships/image" Target="../media/image11.png"/><Relationship Id="rId10" Type="http://schemas.openxmlformats.org/officeDocument/2006/relationships/notesSlide" Target="../notesSlides/notesSlide3.xml"/><Relationship Id="rId4" Type="http://schemas.openxmlformats.org/officeDocument/2006/relationships/tags" Target="../tags/tag10.xml"/><Relationship Id="rId9" Type="http://schemas.openxmlformats.org/officeDocument/2006/relationships/slideLayout" Target="../slideLayouts/slideLayout4.xml"/><Relationship Id="rId1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microsoft.com/office/2007/relationships/hdphoto" Target="../media/hdphoto1.wdp"/><Relationship Id="rId3" Type="http://schemas.openxmlformats.org/officeDocument/2006/relationships/tags" Target="../tags/tag16.xml"/><Relationship Id="rId7" Type="http://schemas.openxmlformats.org/officeDocument/2006/relationships/image" Target="../media/image13.png"/><Relationship Id="rId12" Type="http://schemas.openxmlformats.org/officeDocument/2006/relationships/image" Target="../media/image18.png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17.pn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16.png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15.png"/><Relationship Id="rId1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18.xml"/><Relationship Id="rId7" Type="http://schemas.openxmlformats.org/officeDocument/2006/relationships/image" Target="../media/image20.png"/><Relationship Id="rId2" Type="http://schemas.openxmlformats.org/officeDocument/2006/relationships/tags" Target="../tags/tag17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6.png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Box 3">
            <a:extLst>
              <a:ext uri="{FF2B5EF4-FFF2-40B4-BE49-F238E27FC236}">
                <a16:creationId xmlns:a16="http://schemas.microsoft.com/office/drawing/2014/main" xmlns="" id="{A9CFDC53-0459-B946-D831-52A87E52B01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80634" y="4597402"/>
            <a:ext cx="3071813" cy="2539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76" tIns="34289" rIns="68576" bIns="34289">
            <a:spAutoFit/>
          </a:bodyPr>
          <a:lstStyle/>
          <a:p>
            <a:pPr algn="ctr" defTabSz="685749"/>
            <a:r>
              <a:rPr lang="ru-RU" altLang="ru-RU" sz="1200" b="1" dirty="0" smtClean="0">
                <a:solidFill>
                  <a:srgbClr val="163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стана </a:t>
            </a:r>
            <a:r>
              <a:rPr lang="ru-RU" altLang="ru-RU" sz="1200" b="1" dirty="0" err="1" smtClean="0">
                <a:solidFill>
                  <a:srgbClr val="163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</a:t>
            </a:r>
            <a:r>
              <a:rPr lang="ru-RU" altLang="ru-RU" sz="1200" b="1" dirty="0" smtClean="0">
                <a:solidFill>
                  <a:srgbClr val="163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, 202</a:t>
            </a:r>
            <a:r>
              <a:rPr lang="en-US" altLang="ru-RU" sz="1200" b="1" dirty="0" smtClean="0">
                <a:solidFill>
                  <a:srgbClr val="163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ru-RU" altLang="ru-RU" sz="1200" b="1" dirty="0" smtClean="0">
                <a:solidFill>
                  <a:srgbClr val="163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200" b="1" dirty="0" err="1" smtClean="0">
                <a:solidFill>
                  <a:srgbClr val="163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</a:t>
            </a:r>
            <a:endParaRPr lang="ru-RU" altLang="ru-RU" sz="1200" b="1" dirty="0">
              <a:solidFill>
                <a:srgbClr val="16365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Группа 21">
            <a:extLst>
              <a:ext uri="{FF2B5EF4-FFF2-40B4-BE49-F238E27FC236}">
                <a16:creationId xmlns:a16="http://schemas.microsoft.com/office/drawing/2014/main" xmlns="" id="{311BF660-F614-E650-81D0-A40E9953875B}"/>
              </a:ext>
            </a:extLst>
          </p:cNvPr>
          <p:cNvGrpSpPr>
            <a:grpSpLocks/>
          </p:cNvGrpSpPr>
          <p:nvPr/>
        </p:nvGrpSpPr>
        <p:grpSpPr bwMode="auto">
          <a:xfrm>
            <a:off x="463550" y="2947992"/>
            <a:ext cx="971550" cy="1851025"/>
            <a:chOff x="464265" y="2731224"/>
            <a:chExt cx="970344" cy="1850030"/>
          </a:xfrm>
        </p:grpSpPr>
        <p:sp>
          <p:nvSpPr>
            <p:cNvPr id="25" name="Graphic 1">
              <a:extLst>
                <a:ext uri="{FF2B5EF4-FFF2-40B4-BE49-F238E27FC236}">
                  <a16:creationId xmlns:a16="http://schemas.microsoft.com/office/drawing/2014/main" xmlns="" id="{75A14B0E-525C-B399-38C5-88D342BC23F7}"/>
                </a:ext>
              </a:extLst>
            </p:cNvPr>
            <p:cNvSpPr/>
            <p:nvPr/>
          </p:nvSpPr>
          <p:spPr>
            <a:xfrm>
              <a:off x="464265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6" name="Graphic 1">
              <a:extLst>
                <a:ext uri="{FF2B5EF4-FFF2-40B4-BE49-F238E27FC236}">
                  <a16:creationId xmlns:a16="http://schemas.microsoft.com/office/drawing/2014/main" xmlns="" id="{621A11AF-771F-5FDF-EF22-54551137F4FC}"/>
                </a:ext>
              </a:extLst>
            </p:cNvPr>
            <p:cNvSpPr/>
            <p:nvPr/>
          </p:nvSpPr>
          <p:spPr>
            <a:xfrm>
              <a:off x="949437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7" name="Graphic 1">
              <a:extLst>
                <a:ext uri="{FF2B5EF4-FFF2-40B4-BE49-F238E27FC236}">
                  <a16:creationId xmlns:a16="http://schemas.microsoft.com/office/drawing/2014/main" xmlns="" id="{EFFA5D25-9475-BD28-A77D-0F92EEC6CD37}"/>
                </a:ext>
              </a:extLst>
            </p:cNvPr>
            <p:cNvSpPr/>
            <p:nvPr/>
          </p:nvSpPr>
          <p:spPr>
            <a:xfrm>
              <a:off x="464265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8" name="Graphic 1">
              <a:extLst>
                <a:ext uri="{FF2B5EF4-FFF2-40B4-BE49-F238E27FC236}">
                  <a16:creationId xmlns:a16="http://schemas.microsoft.com/office/drawing/2014/main" xmlns="" id="{7BE9CF39-7468-996C-EB07-8AE5486854CB}"/>
                </a:ext>
              </a:extLst>
            </p:cNvPr>
            <p:cNvSpPr/>
            <p:nvPr/>
          </p:nvSpPr>
          <p:spPr>
            <a:xfrm>
              <a:off x="949437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9" name="Graphic 1">
              <a:extLst>
                <a:ext uri="{FF2B5EF4-FFF2-40B4-BE49-F238E27FC236}">
                  <a16:creationId xmlns:a16="http://schemas.microsoft.com/office/drawing/2014/main" xmlns="" id="{B96E9577-0813-66D3-CF45-CD12AD6FFCC5}"/>
                </a:ext>
              </a:extLst>
            </p:cNvPr>
            <p:cNvSpPr/>
            <p:nvPr/>
          </p:nvSpPr>
          <p:spPr>
            <a:xfrm>
              <a:off x="464265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0" name="Graphic 1">
              <a:extLst>
                <a:ext uri="{FF2B5EF4-FFF2-40B4-BE49-F238E27FC236}">
                  <a16:creationId xmlns:a16="http://schemas.microsoft.com/office/drawing/2014/main" xmlns="" id="{BDB54AA9-58B4-2B86-59F5-BB7B6094591F}"/>
                </a:ext>
              </a:extLst>
            </p:cNvPr>
            <p:cNvSpPr/>
            <p:nvPr/>
          </p:nvSpPr>
          <p:spPr>
            <a:xfrm>
              <a:off x="949437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1" name="Graphic 1">
              <a:extLst>
                <a:ext uri="{FF2B5EF4-FFF2-40B4-BE49-F238E27FC236}">
                  <a16:creationId xmlns:a16="http://schemas.microsoft.com/office/drawing/2014/main" xmlns="" id="{8BB3E8D7-198D-5326-387C-7232CB482BA3}"/>
                </a:ext>
              </a:extLst>
            </p:cNvPr>
            <p:cNvSpPr/>
            <p:nvPr/>
          </p:nvSpPr>
          <p:spPr>
            <a:xfrm>
              <a:off x="464265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2" name="Graphic 1">
              <a:extLst>
                <a:ext uri="{FF2B5EF4-FFF2-40B4-BE49-F238E27FC236}">
                  <a16:creationId xmlns:a16="http://schemas.microsoft.com/office/drawing/2014/main" xmlns="" id="{1FBBA64B-150E-8898-E2A8-9C66FEDCEB2B}"/>
                </a:ext>
              </a:extLst>
            </p:cNvPr>
            <p:cNvSpPr/>
            <p:nvPr/>
          </p:nvSpPr>
          <p:spPr>
            <a:xfrm>
              <a:off x="949437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pic>
        <p:nvPicPr>
          <p:cNvPr id="33" name="Picture 744" descr="ÐÐ°ÑÑÐ¸Ð½ÐºÐ¸ Ð¿Ð¾ Ð·Ð°Ð¿ÑÐ¾ÑÑ Ð³ÐµÑÐ± ÐºÐ°Ð·Ð°ÑÑÑÐ°Ð½Ð° png">
            <a:extLst>
              <a:ext uri="{FF2B5EF4-FFF2-40B4-BE49-F238E27FC236}">
                <a16:creationId xmlns:a16="http://schemas.microsoft.com/office/drawing/2014/main" xmlns="" id="{B79C56A5-61B5-FD5E-2E8E-6EF6C6120FBA}"/>
              </a:ext>
            </a:extLst>
          </p:cNvPr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09575" y="1827217"/>
            <a:ext cx="1079500" cy="108108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Группа 29">
            <a:extLst>
              <a:ext uri="{FF2B5EF4-FFF2-40B4-BE49-F238E27FC236}">
                <a16:creationId xmlns:a16="http://schemas.microsoft.com/office/drawing/2014/main" xmlns="" id="{DC6861D2-0B41-C82F-4214-5BE9A1A6DE1D}"/>
              </a:ext>
            </a:extLst>
          </p:cNvPr>
          <p:cNvGrpSpPr>
            <a:grpSpLocks/>
          </p:cNvGrpSpPr>
          <p:nvPr/>
        </p:nvGrpSpPr>
        <p:grpSpPr bwMode="auto">
          <a:xfrm>
            <a:off x="463550" y="315914"/>
            <a:ext cx="971550" cy="1392237"/>
            <a:chOff x="464265" y="499361"/>
            <a:chExt cx="970344" cy="1391523"/>
          </a:xfrm>
        </p:grpSpPr>
        <p:sp>
          <p:nvSpPr>
            <p:cNvPr id="35" name="Graphic 1">
              <a:extLst>
                <a:ext uri="{FF2B5EF4-FFF2-40B4-BE49-F238E27FC236}">
                  <a16:creationId xmlns:a16="http://schemas.microsoft.com/office/drawing/2014/main" xmlns="" id="{9AD3A80E-9243-18F2-EE28-F7F134A102B2}"/>
                </a:ext>
              </a:extLst>
            </p:cNvPr>
            <p:cNvSpPr/>
            <p:nvPr/>
          </p:nvSpPr>
          <p:spPr>
            <a:xfrm>
              <a:off x="464265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6" name="Graphic 1">
              <a:extLst>
                <a:ext uri="{FF2B5EF4-FFF2-40B4-BE49-F238E27FC236}">
                  <a16:creationId xmlns:a16="http://schemas.microsoft.com/office/drawing/2014/main" xmlns="" id="{EF548313-BB82-3A25-BE50-0135CD1ADD9A}"/>
                </a:ext>
              </a:extLst>
            </p:cNvPr>
            <p:cNvSpPr/>
            <p:nvPr/>
          </p:nvSpPr>
          <p:spPr>
            <a:xfrm>
              <a:off x="949437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7" name="Graphic 1">
              <a:extLst>
                <a:ext uri="{FF2B5EF4-FFF2-40B4-BE49-F238E27FC236}">
                  <a16:creationId xmlns:a16="http://schemas.microsoft.com/office/drawing/2014/main" xmlns="" id="{EE22C6FF-D6FC-4971-9EFE-757215056B2B}"/>
                </a:ext>
              </a:extLst>
            </p:cNvPr>
            <p:cNvSpPr/>
            <p:nvPr/>
          </p:nvSpPr>
          <p:spPr>
            <a:xfrm>
              <a:off x="464265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8" name="Graphic 1">
              <a:extLst>
                <a:ext uri="{FF2B5EF4-FFF2-40B4-BE49-F238E27FC236}">
                  <a16:creationId xmlns:a16="http://schemas.microsoft.com/office/drawing/2014/main" xmlns="" id="{793315F8-98CB-67C7-6DD5-A1CAC9ADAAEC}"/>
                </a:ext>
              </a:extLst>
            </p:cNvPr>
            <p:cNvSpPr/>
            <p:nvPr/>
          </p:nvSpPr>
          <p:spPr>
            <a:xfrm>
              <a:off x="949437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9" name="Graphic 1">
              <a:extLst>
                <a:ext uri="{FF2B5EF4-FFF2-40B4-BE49-F238E27FC236}">
                  <a16:creationId xmlns:a16="http://schemas.microsoft.com/office/drawing/2014/main" xmlns="" id="{D5E89F53-830F-411D-BB3F-57E16A7BDC50}"/>
                </a:ext>
              </a:extLst>
            </p:cNvPr>
            <p:cNvSpPr/>
            <p:nvPr/>
          </p:nvSpPr>
          <p:spPr>
            <a:xfrm>
              <a:off x="464265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0" name="Graphic 1">
              <a:extLst>
                <a:ext uri="{FF2B5EF4-FFF2-40B4-BE49-F238E27FC236}">
                  <a16:creationId xmlns:a16="http://schemas.microsoft.com/office/drawing/2014/main" xmlns="" id="{F0CD6754-F4F3-2999-563C-4C62696F4E89}"/>
                </a:ext>
              </a:extLst>
            </p:cNvPr>
            <p:cNvSpPr/>
            <p:nvPr/>
          </p:nvSpPr>
          <p:spPr>
            <a:xfrm>
              <a:off x="949437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1" name="Подзаголовок 4">
            <a:extLst>
              <a:ext uri="{FF2B5EF4-FFF2-40B4-BE49-F238E27FC236}">
                <a16:creationId xmlns:a16="http://schemas.microsoft.com/office/drawing/2014/main" xmlns="" id="{3D9B65B1-E77D-8F65-3DD4-ED1B2C5D4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920875" y="1697677"/>
            <a:ext cx="6400800" cy="1314450"/>
          </a:xfrm>
        </p:spPr>
        <p:txBody>
          <a:bodyPr anchor="ctr">
            <a:noAutofit/>
          </a:bodyPr>
          <a:lstStyle/>
          <a:p>
            <a:pPr>
              <a:lnSpc>
                <a:spcPct val="100000"/>
              </a:lnSpc>
              <a:spcBef>
                <a:spcPts val="450"/>
              </a:spcBef>
            </a:pPr>
            <a:r>
              <a:rPr lang="ru-RU" sz="2400" b="1" dirty="0">
                <a:solidFill>
                  <a:srgbClr val="163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кара </a:t>
            </a:r>
            <a:r>
              <a:rPr lang="ru-RU" sz="2400" b="1" dirty="0" err="1">
                <a:solidFill>
                  <a:srgbClr val="163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ңындағы</a:t>
            </a:r>
            <a:r>
              <a:rPr lang="ru-RU" sz="2400" b="1" dirty="0">
                <a:solidFill>
                  <a:srgbClr val="163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b="1" dirty="0" err="1">
                <a:solidFill>
                  <a:srgbClr val="163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умақтарды</a:t>
            </a:r>
            <a:r>
              <a:rPr lang="ru-RU" sz="2400" b="1" dirty="0">
                <a:solidFill>
                  <a:srgbClr val="163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амыту</a:t>
            </a:r>
          </a:p>
          <a:p>
            <a:pPr>
              <a:lnSpc>
                <a:spcPct val="100000"/>
              </a:lnSpc>
              <a:spcBef>
                <a:spcPts val="450"/>
              </a:spcBef>
            </a:pPr>
            <a:r>
              <a:rPr lang="ru-RU" sz="2400" b="1" dirty="0">
                <a:solidFill>
                  <a:srgbClr val="163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b="1" dirty="0" err="1">
                <a:solidFill>
                  <a:srgbClr val="163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әселелері</a:t>
            </a:r>
            <a:endParaRPr lang="ru-RU" sz="2400" b="1" dirty="0">
              <a:solidFill>
                <a:srgbClr val="16365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42722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object 29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4948860" y="942391"/>
            <a:ext cx="550953" cy="523179"/>
          </a:xfrm>
          <a:prstGeom prst="rect">
            <a:avLst/>
          </a:prstGeom>
        </p:spPr>
      </p:pic>
      <p:grpSp>
        <p:nvGrpSpPr>
          <p:cNvPr id="7" name="object 38"/>
          <p:cNvGrpSpPr/>
          <p:nvPr/>
        </p:nvGrpSpPr>
        <p:grpSpPr>
          <a:xfrm>
            <a:off x="372097" y="1766860"/>
            <a:ext cx="615481" cy="597252"/>
            <a:chOff x="184048" y="614044"/>
            <a:chExt cx="497205" cy="467359"/>
          </a:xfrm>
        </p:grpSpPr>
        <p:sp>
          <p:nvSpPr>
            <p:cNvPr id="25" name="object 39"/>
            <p:cNvSpPr/>
            <p:nvPr/>
          </p:nvSpPr>
          <p:spPr>
            <a:xfrm>
              <a:off x="190144" y="699261"/>
              <a:ext cx="484505" cy="375920"/>
            </a:xfrm>
            <a:custGeom>
              <a:avLst/>
              <a:gdLst/>
              <a:ahLst/>
              <a:cxnLst/>
              <a:rect l="l" t="t" r="r" b="b"/>
              <a:pathLst>
                <a:path w="484505" h="375919">
                  <a:moveTo>
                    <a:pt x="80708" y="16637"/>
                  </a:moveTo>
                  <a:lnTo>
                    <a:pt x="183489" y="375920"/>
                  </a:lnTo>
                </a:path>
                <a:path w="484505" h="375919">
                  <a:moveTo>
                    <a:pt x="0" y="220472"/>
                  </a:moveTo>
                  <a:lnTo>
                    <a:pt x="127850" y="182879"/>
                  </a:lnTo>
                </a:path>
                <a:path w="484505" h="375919">
                  <a:moveTo>
                    <a:pt x="275615" y="100457"/>
                  </a:moveTo>
                  <a:lnTo>
                    <a:pt x="170802" y="131317"/>
                  </a:lnTo>
                  <a:lnTo>
                    <a:pt x="237210" y="360045"/>
                  </a:lnTo>
                </a:path>
                <a:path w="484505" h="375919">
                  <a:moveTo>
                    <a:pt x="134150" y="0"/>
                  </a:moveTo>
                  <a:lnTo>
                    <a:pt x="155638" y="77342"/>
                  </a:lnTo>
                  <a:lnTo>
                    <a:pt x="249554" y="48640"/>
                  </a:lnTo>
                </a:path>
                <a:path w="484505" h="375919">
                  <a:moveTo>
                    <a:pt x="207264" y="257937"/>
                  </a:moveTo>
                  <a:lnTo>
                    <a:pt x="484403" y="178308"/>
                  </a:lnTo>
                </a:path>
              </a:pathLst>
            </a:custGeom>
            <a:ln w="12192">
              <a:solidFill>
                <a:srgbClr val="006FCE"/>
              </a:solidFill>
            </a:ln>
          </p:spPr>
          <p:txBody>
            <a:bodyPr wrap="square" lIns="0" tIns="0" rIns="0" bIns="0" rtlCol="0"/>
            <a:lstStyle/>
            <a:p>
              <a:pPr defTabSz="913936">
                <a:defRPr/>
              </a:pPr>
              <a:endParaRPr sz="1800" kern="0">
                <a:solidFill>
                  <a:sysClr val="windowText" lastClr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6" name="object 40"/>
            <p:cNvSpPr/>
            <p:nvPr/>
          </p:nvSpPr>
          <p:spPr>
            <a:xfrm>
              <a:off x="449427" y="620140"/>
              <a:ext cx="160655" cy="259079"/>
            </a:xfrm>
            <a:custGeom>
              <a:avLst/>
              <a:gdLst/>
              <a:ahLst/>
              <a:cxnLst/>
              <a:rect l="l" t="t" r="r" b="b"/>
              <a:pathLst>
                <a:path w="160654" h="259080">
                  <a:moveTo>
                    <a:pt x="160566" y="80010"/>
                  </a:moveTo>
                  <a:lnTo>
                    <a:pt x="148022" y="126595"/>
                  </a:lnTo>
                  <a:lnTo>
                    <a:pt x="120427" y="185991"/>
                  </a:lnTo>
                  <a:lnTo>
                    <a:pt x="92832" y="237101"/>
                  </a:lnTo>
                  <a:lnTo>
                    <a:pt x="80289" y="258825"/>
                  </a:lnTo>
                  <a:lnTo>
                    <a:pt x="67744" y="237101"/>
                  </a:lnTo>
                  <a:lnTo>
                    <a:pt x="40144" y="185991"/>
                  </a:lnTo>
                  <a:lnTo>
                    <a:pt x="12545" y="126595"/>
                  </a:lnTo>
                  <a:lnTo>
                    <a:pt x="0" y="80010"/>
                  </a:lnTo>
                  <a:lnTo>
                    <a:pt x="6312" y="48863"/>
                  </a:lnTo>
                  <a:lnTo>
                    <a:pt x="23523" y="23431"/>
                  </a:lnTo>
                  <a:lnTo>
                    <a:pt x="49045" y="6286"/>
                  </a:lnTo>
                  <a:lnTo>
                    <a:pt x="80289" y="0"/>
                  </a:lnTo>
                  <a:lnTo>
                    <a:pt x="111526" y="6286"/>
                  </a:lnTo>
                  <a:lnTo>
                    <a:pt x="137044" y="23431"/>
                  </a:lnTo>
                  <a:lnTo>
                    <a:pt x="154254" y="48863"/>
                  </a:lnTo>
                  <a:lnTo>
                    <a:pt x="160566" y="80010"/>
                  </a:lnTo>
                  <a:close/>
                </a:path>
              </a:pathLst>
            </a:custGeom>
            <a:ln w="12192">
              <a:solidFill>
                <a:srgbClr val="006FCE"/>
              </a:solidFill>
            </a:ln>
          </p:spPr>
          <p:txBody>
            <a:bodyPr wrap="square" lIns="0" tIns="0" rIns="0" bIns="0" rtlCol="0"/>
            <a:lstStyle/>
            <a:p>
              <a:pPr defTabSz="913936">
                <a:defRPr/>
              </a:pPr>
              <a:endParaRPr sz="1800" kern="0">
                <a:solidFill>
                  <a:sysClr val="windowText" lastClr="000000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27" name="object 41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490372" y="659764"/>
              <a:ext cx="79120" cy="80264"/>
            </a:xfrm>
            <a:prstGeom prst="rect">
              <a:avLst/>
            </a:prstGeom>
          </p:spPr>
        </p:pic>
        <p:sp>
          <p:nvSpPr>
            <p:cNvPr id="28" name="object 42"/>
            <p:cNvSpPr/>
            <p:nvPr/>
          </p:nvSpPr>
          <p:spPr>
            <a:xfrm>
              <a:off x="601497" y="898651"/>
              <a:ext cx="20955" cy="71120"/>
            </a:xfrm>
            <a:custGeom>
              <a:avLst/>
              <a:gdLst/>
              <a:ahLst/>
              <a:cxnLst/>
              <a:rect l="l" t="t" r="r" b="b"/>
              <a:pathLst>
                <a:path w="20954" h="71119">
                  <a:moveTo>
                    <a:pt x="0" y="0"/>
                  </a:moveTo>
                  <a:lnTo>
                    <a:pt x="20472" y="70865"/>
                  </a:lnTo>
                </a:path>
              </a:pathLst>
            </a:custGeom>
            <a:ln w="12192">
              <a:solidFill>
                <a:srgbClr val="006FCE"/>
              </a:solidFill>
            </a:ln>
          </p:spPr>
          <p:txBody>
            <a:bodyPr wrap="square" lIns="0" tIns="0" rIns="0" bIns="0" rtlCol="0"/>
            <a:lstStyle/>
            <a:p>
              <a:pPr defTabSz="913936">
                <a:defRPr/>
              </a:pPr>
              <a:endParaRPr sz="1800" kern="0">
                <a:solidFill>
                  <a:sysClr val="windowText" lastClr="000000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30" name="object 44"/>
          <p:cNvSpPr/>
          <p:nvPr/>
        </p:nvSpPr>
        <p:spPr>
          <a:xfrm>
            <a:off x="379643" y="2855237"/>
            <a:ext cx="599760" cy="501166"/>
          </a:xfrm>
          <a:custGeom>
            <a:avLst/>
            <a:gdLst/>
            <a:ahLst/>
            <a:cxnLst/>
            <a:rect l="l" t="t" r="r" b="b"/>
            <a:pathLst>
              <a:path w="471170" h="405764">
                <a:moveTo>
                  <a:pt x="470916" y="275844"/>
                </a:moveTo>
                <a:lnTo>
                  <a:pt x="0" y="275844"/>
                </a:lnTo>
              </a:path>
              <a:path w="471170" h="405764">
                <a:moveTo>
                  <a:pt x="205740" y="275844"/>
                </a:moveTo>
                <a:lnTo>
                  <a:pt x="205740" y="158369"/>
                </a:lnTo>
                <a:lnTo>
                  <a:pt x="265176" y="89915"/>
                </a:lnTo>
              </a:path>
              <a:path w="471170" h="405764">
                <a:moveTo>
                  <a:pt x="28955" y="275844"/>
                </a:moveTo>
                <a:lnTo>
                  <a:pt x="28955" y="158369"/>
                </a:lnTo>
                <a:lnTo>
                  <a:pt x="88798" y="89915"/>
                </a:lnTo>
                <a:lnTo>
                  <a:pt x="265658" y="89915"/>
                </a:lnTo>
                <a:lnTo>
                  <a:pt x="324612" y="158369"/>
                </a:lnTo>
                <a:lnTo>
                  <a:pt x="324612" y="275844"/>
                </a:lnTo>
              </a:path>
              <a:path w="471170" h="405764">
                <a:moveTo>
                  <a:pt x="28955" y="158495"/>
                </a:moveTo>
                <a:lnTo>
                  <a:pt x="205740" y="158495"/>
                </a:lnTo>
              </a:path>
              <a:path w="471170" h="405764">
                <a:moveTo>
                  <a:pt x="156972" y="198119"/>
                </a:moveTo>
                <a:lnTo>
                  <a:pt x="156972" y="237744"/>
                </a:lnTo>
              </a:path>
              <a:path w="471170" h="405764">
                <a:moveTo>
                  <a:pt x="265176" y="149351"/>
                </a:moveTo>
                <a:lnTo>
                  <a:pt x="265176" y="178307"/>
                </a:lnTo>
              </a:path>
              <a:path w="471170" h="405764">
                <a:moveTo>
                  <a:pt x="284988" y="275844"/>
                </a:moveTo>
                <a:lnTo>
                  <a:pt x="284988" y="207263"/>
                </a:lnTo>
                <a:lnTo>
                  <a:pt x="245363" y="207263"/>
                </a:lnTo>
                <a:lnTo>
                  <a:pt x="245363" y="275844"/>
                </a:lnTo>
              </a:path>
              <a:path w="471170" h="405764">
                <a:moveTo>
                  <a:pt x="79247" y="198119"/>
                </a:moveTo>
                <a:lnTo>
                  <a:pt x="79247" y="237744"/>
                </a:lnTo>
              </a:path>
              <a:path w="471170" h="405764">
                <a:moveTo>
                  <a:pt x="118872" y="198119"/>
                </a:moveTo>
                <a:lnTo>
                  <a:pt x="118872" y="237744"/>
                </a:lnTo>
              </a:path>
              <a:path w="471170" h="405764">
                <a:moveTo>
                  <a:pt x="393191" y="405383"/>
                </a:moveTo>
                <a:lnTo>
                  <a:pt x="383230" y="354657"/>
                </a:lnTo>
                <a:lnTo>
                  <a:pt x="355958" y="313515"/>
                </a:lnTo>
                <a:lnTo>
                  <a:pt x="315300" y="285922"/>
                </a:lnTo>
                <a:lnTo>
                  <a:pt x="265176" y="275844"/>
                </a:lnTo>
              </a:path>
              <a:path w="471170" h="405764">
                <a:moveTo>
                  <a:pt x="324612" y="405383"/>
                </a:moveTo>
                <a:lnTo>
                  <a:pt x="314650" y="354657"/>
                </a:lnTo>
                <a:lnTo>
                  <a:pt x="287378" y="313515"/>
                </a:lnTo>
                <a:lnTo>
                  <a:pt x="246720" y="285922"/>
                </a:lnTo>
                <a:lnTo>
                  <a:pt x="196596" y="275844"/>
                </a:lnTo>
              </a:path>
              <a:path w="471170" h="405764">
                <a:moveTo>
                  <a:pt x="256032" y="405383"/>
                </a:moveTo>
                <a:lnTo>
                  <a:pt x="246070" y="354657"/>
                </a:lnTo>
                <a:lnTo>
                  <a:pt x="218798" y="313515"/>
                </a:lnTo>
                <a:lnTo>
                  <a:pt x="178140" y="285922"/>
                </a:lnTo>
                <a:lnTo>
                  <a:pt x="128015" y="275844"/>
                </a:lnTo>
              </a:path>
              <a:path w="471170" h="405764">
                <a:moveTo>
                  <a:pt x="187451" y="405383"/>
                </a:moveTo>
                <a:lnTo>
                  <a:pt x="177490" y="354657"/>
                </a:lnTo>
                <a:lnTo>
                  <a:pt x="150218" y="313515"/>
                </a:lnTo>
                <a:lnTo>
                  <a:pt x="109560" y="285922"/>
                </a:lnTo>
                <a:lnTo>
                  <a:pt x="59436" y="275844"/>
                </a:lnTo>
              </a:path>
              <a:path w="471170" h="405764">
                <a:moveTo>
                  <a:pt x="0" y="275844"/>
                </a:moveTo>
                <a:lnTo>
                  <a:pt x="46782" y="288708"/>
                </a:lnTo>
                <a:lnTo>
                  <a:pt x="84510" y="317230"/>
                </a:lnTo>
                <a:lnTo>
                  <a:pt x="109701" y="357443"/>
                </a:lnTo>
                <a:lnTo>
                  <a:pt x="118872" y="405383"/>
                </a:lnTo>
              </a:path>
              <a:path w="471170" h="405764">
                <a:moveTo>
                  <a:pt x="0" y="304800"/>
                </a:moveTo>
                <a:lnTo>
                  <a:pt x="20588" y="324998"/>
                </a:lnTo>
                <a:lnTo>
                  <a:pt x="36461" y="348662"/>
                </a:lnTo>
                <a:lnTo>
                  <a:pt x="46677" y="375540"/>
                </a:lnTo>
                <a:lnTo>
                  <a:pt x="50292" y="405383"/>
                </a:lnTo>
              </a:path>
              <a:path w="471170" h="405764">
                <a:moveTo>
                  <a:pt x="413003" y="275844"/>
                </a:moveTo>
                <a:lnTo>
                  <a:pt x="413003" y="89915"/>
                </a:lnTo>
              </a:path>
              <a:path w="471170" h="405764">
                <a:moveTo>
                  <a:pt x="362712" y="49402"/>
                </a:moveTo>
                <a:lnTo>
                  <a:pt x="366620" y="30218"/>
                </a:lnTo>
                <a:lnTo>
                  <a:pt x="377261" y="14509"/>
                </a:lnTo>
                <a:lnTo>
                  <a:pt x="393010" y="3897"/>
                </a:lnTo>
                <a:lnTo>
                  <a:pt x="412241" y="0"/>
                </a:lnTo>
                <a:lnTo>
                  <a:pt x="431473" y="3897"/>
                </a:lnTo>
                <a:lnTo>
                  <a:pt x="447222" y="14509"/>
                </a:lnTo>
                <a:lnTo>
                  <a:pt x="457863" y="30218"/>
                </a:lnTo>
                <a:lnTo>
                  <a:pt x="461772" y="49402"/>
                </a:lnTo>
                <a:lnTo>
                  <a:pt x="461772" y="112105"/>
                </a:lnTo>
                <a:lnTo>
                  <a:pt x="461772" y="144303"/>
                </a:lnTo>
                <a:lnTo>
                  <a:pt x="461772" y="156166"/>
                </a:lnTo>
                <a:lnTo>
                  <a:pt x="461772" y="157860"/>
                </a:lnTo>
                <a:lnTo>
                  <a:pt x="457863" y="177045"/>
                </a:lnTo>
                <a:lnTo>
                  <a:pt x="447222" y="192754"/>
                </a:lnTo>
                <a:lnTo>
                  <a:pt x="431473" y="203366"/>
                </a:lnTo>
                <a:lnTo>
                  <a:pt x="412241" y="207263"/>
                </a:lnTo>
                <a:lnTo>
                  <a:pt x="393010" y="203366"/>
                </a:lnTo>
                <a:lnTo>
                  <a:pt x="377261" y="192754"/>
                </a:lnTo>
                <a:lnTo>
                  <a:pt x="366620" y="177045"/>
                </a:lnTo>
                <a:lnTo>
                  <a:pt x="362712" y="157860"/>
                </a:lnTo>
                <a:lnTo>
                  <a:pt x="362712" y="49402"/>
                </a:lnTo>
                <a:close/>
              </a:path>
              <a:path w="471170" h="405764">
                <a:moveTo>
                  <a:pt x="353568" y="316991"/>
                </a:moveTo>
                <a:lnTo>
                  <a:pt x="470916" y="316991"/>
                </a:lnTo>
              </a:path>
              <a:path w="471170" h="405764">
                <a:moveTo>
                  <a:pt x="382524" y="355091"/>
                </a:moveTo>
                <a:lnTo>
                  <a:pt x="470916" y="355091"/>
                </a:lnTo>
              </a:path>
              <a:path w="471170" h="405764">
                <a:moveTo>
                  <a:pt x="393191" y="394715"/>
                </a:moveTo>
                <a:lnTo>
                  <a:pt x="470916" y="394715"/>
                </a:lnTo>
              </a:path>
            </a:pathLst>
          </a:custGeom>
          <a:ln w="12192">
            <a:solidFill>
              <a:srgbClr val="006FCE"/>
            </a:solidFill>
          </a:ln>
        </p:spPr>
        <p:txBody>
          <a:bodyPr wrap="square" lIns="0" tIns="0" rIns="0" bIns="0" rtlCol="0"/>
          <a:lstStyle/>
          <a:p>
            <a:pPr defTabSz="913936">
              <a:defRPr/>
            </a:pPr>
            <a:endParaRPr sz="1800" kern="0">
              <a:solidFill>
                <a:sysClr val="windowText" lastClr="000000"/>
              </a:solidFill>
              <a:cs typeface="Arial" panose="020B0604020202020204" pitchFamily="34" charset="0"/>
            </a:endParaRPr>
          </a:p>
        </p:txBody>
      </p:sp>
      <p:sp>
        <p:nvSpPr>
          <p:cNvPr id="36" name="object 43"/>
          <p:cNvSpPr txBox="1">
            <a:spLocks/>
          </p:cNvSpPr>
          <p:nvPr/>
        </p:nvSpPr>
        <p:spPr>
          <a:xfrm>
            <a:off x="610724" y="863360"/>
            <a:ext cx="4481285" cy="505902"/>
          </a:xfrm>
          <a:prstGeom prst="rect">
            <a:avLst/>
          </a:prstGeom>
        </p:spPr>
        <p:txBody>
          <a:bodyPr vert="horz" wrap="square" lIns="0" tIns="13329" rIns="0" bIns="0" rtlCol="0">
            <a:spAutoFit/>
          </a:bodyPr>
          <a:lstStyle>
            <a:lvl1pPr>
              <a:defRPr sz="1600" b="0" i="0">
                <a:solidFill>
                  <a:schemeClr val="tx1"/>
                </a:solidFill>
                <a:latin typeface="Segoe UI Light"/>
                <a:ea typeface="+mj-ea"/>
                <a:cs typeface="Segoe UI Light"/>
              </a:defRPr>
            </a:lvl1pPr>
          </a:lstStyle>
          <a:p>
            <a:pPr marL="12694" algn="ctr" defTabSz="913936" eaLnBrk="0" fontAlgn="base" hangingPunct="0">
              <a:spcBef>
                <a:spcPts val="105"/>
              </a:spcBef>
              <a:spcAft>
                <a:spcPct val="0"/>
              </a:spcAft>
              <a:defRPr/>
            </a:pPr>
            <a:r>
              <a:rPr lang="ru-RU" sz="3200" b="1" spc="-100" dirty="0">
                <a:solidFill>
                  <a:srgbClr val="00B05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14</a:t>
            </a:r>
            <a:r>
              <a:rPr lang="ru-RU" sz="2000" b="1" spc="-100" dirty="0" smtClean="0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 </a:t>
            </a:r>
            <a:r>
              <a:rPr lang="ru-RU" sz="2000" b="1" spc="-100" dirty="0" err="1" smtClean="0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шекаралы</a:t>
            </a:r>
            <a:r>
              <a:rPr lang="kk-KZ" sz="2000" b="1" spc="-100" dirty="0" smtClean="0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қ облыстар</a:t>
            </a:r>
            <a:endParaRPr lang="kk-KZ" sz="3200" b="1" spc="-100" dirty="0">
              <a:solidFill>
                <a:srgbClr val="00B050"/>
              </a:solidFill>
              <a:latin typeface="Arial" panose="020B0604020202020204" pitchFamily="34" charset="0"/>
              <a:ea typeface="+mn-lt"/>
              <a:cs typeface="Arial" panose="020B0604020202020204" pitchFamily="34" charset="0"/>
            </a:endParaRPr>
          </a:p>
        </p:txBody>
      </p:sp>
      <p:cxnSp>
        <p:nvCxnSpPr>
          <p:cNvPr id="37" name="Straight Connector 32"/>
          <p:cNvCxnSpPr/>
          <p:nvPr/>
        </p:nvCxnSpPr>
        <p:spPr>
          <a:xfrm>
            <a:off x="0" y="442524"/>
            <a:ext cx="9144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xmlns="" id="{653D544F-5913-4618-A7BD-9B51A7D466F5}"/>
              </a:ext>
            </a:extLst>
          </p:cNvPr>
          <p:cNvCxnSpPr>
            <a:cxnSpLocks/>
          </p:cNvCxnSpPr>
          <p:nvPr/>
        </p:nvCxnSpPr>
        <p:spPr>
          <a:xfrm>
            <a:off x="1608817" y="2598352"/>
            <a:ext cx="2402211" cy="0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Заголовок 1"/>
          <p:cNvSpPr txBox="1">
            <a:spLocks/>
          </p:cNvSpPr>
          <p:nvPr/>
        </p:nvSpPr>
        <p:spPr>
          <a:xfrm>
            <a:off x="0" y="51414"/>
            <a:ext cx="9144000" cy="456388"/>
          </a:xfrm>
          <a:prstGeom prst="rect">
            <a:avLst/>
          </a:prstGeom>
        </p:spPr>
        <p:txBody>
          <a:bodyPr vert="horz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000" b="1" cap="small" dirty="0" err="1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Шекара</a:t>
            </a:r>
            <a:r>
              <a:rPr lang="ru-RU" sz="2000" b="1" cap="small" dirty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2000" b="1" cap="small" dirty="0" err="1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маңындағы</a:t>
            </a:r>
            <a:r>
              <a:rPr lang="ru-RU" sz="2000" b="1" cap="small" dirty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2000" b="1" cap="small" dirty="0" err="1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ауылдық</a:t>
            </a:r>
            <a:r>
              <a:rPr lang="ru-RU" sz="2000" b="1" cap="small" dirty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2000" b="1" cap="small" dirty="0" err="1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аумақтардың</a:t>
            </a:r>
            <a:r>
              <a:rPr lang="ru-RU" sz="2000" b="1" cap="small" dirty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2000" b="1" cap="small" dirty="0" err="1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ағымдағы</a:t>
            </a:r>
            <a:r>
              <a:rPr lang="ru-RU" sz="2000" b="1" cap="small" dirty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2000" b="1" cap="small" dirty="0" err="1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жағдайы</a:t>
            </a:r>
            <a:endParaRPr lang="ru-RU" sz="2000" b="1" cap="small" dirty="0" smtClean="0">
              <a:solidFill>
                <a:srgbClr val="0070C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8893900" y="4886738"/>
            <a:ext cx="260008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k-KZ" sz="1050" dirty="0" smtClean="0">
                <a:solidFill>
                  <a:prstClr val="black"/>
                </a:solidFill>
              </a:rPr>
              <a:t>2</a:t>
            </a:r>
            <a:endParaRPr lang="ru-RU" sz="1050" dirty="0">
              <a:solidFill>
                <a:prstClr val="black"/>
              </a:solidFill>
            </a:endParaRPr>
          </a:p>
        </p:txBody>
      </p:sp>
      <p:sp>
        <p:nvSpPr>
          <p:cNvPr id="32" name="Rectangle 24">
            <a:extLst>
              <a:ext uri="{FF2B5EF4-FFF2-40B4-BE49-F238E27FC236}">
                <a16:creationId xmlns:a16="http://schemas.microsoft.com/office/drawing/2014/main" xmlns="" id="{BE978A03-E1E4-4573-8FAE-093A5606C8D9}"/>
              </a:ext>
            </a:extLst>
          </p:cNvPr>
          <p:cNvSpPr/>
          <p:nvPr/>
        </p:nvSpPr>
        <p:spPr>
          <a:xfrm rot="16200000">
            <a:off x="4308983" y="-3713859"/>
            <a:ext cx="45719" cy="8568954"/>
          </a:xfrm>
          <a:prstGeom prst="rect">
            <a:avLst/>
          </a:prstGeom>
          <a:gradFill flip="none" rotWithShape="1">
            <a:gsLst>
              <a:gs pos="0">
                <a:srgbClr val="196491">
                  <a:lumMod val="5000"/>
                  <a:lumOff val="95000"/>
                  <a:alpha val="18000"/>
                </a:srgbClr>
              </a:gs>
              <a:gs pos="74000">
                <a:schemeClr val="accent5">
                  <a:lumMod val="75000"/>
                </a:schemeClr>
              </a:gs>
              <a:gs pos="83000">
                <a:schemeClr val="accent5">
                  <a:lumMod val="75000"/>
                </a:schemeClr>
              </a:gs>
              <a:gs pos="100000">
                <a:srgbClr val="002C7A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33" name="Rectangle 38">
            <a:extLst>
              <a:ext uri="{FF2B5EF4-FFF2-40B4-BE49-F238E27FC236}">
                <a16:creationId xmlns:a16="http://schemas.microsoft.com/office/drawing/2014/main" xmlns="" id="{B8EA2447-65CD-4FBE-8BB1-2B652012D92C}"/>
              </a:ext>
            </a:extLst>
          </p:cNvPr>
          <p:cNvSpPr/>
          <p:nvPr/>
        </p:nvSpPr>
        <p:spPr>
          <a:xfrm>
            <a:off x="47366" y="593478"/>
            <a:ext cx="60584" cy="3296044"/>
          </a:xfrm>
          <a:prstGeom prst="rect">
            <a:avLst/>
          </a:prstGeom>
          <a:gradFill flip="none" rotWithShape="1">
            <a:gsLst>
              <a:gs pos="0">
                <a:srgbClr val="196491">
                  <a:lumMod val="5000"/>
                  <a:lumOff val="95000"/>
                  <a:alpha val="18000"/>
                </a:srgbClr>
              </a:gs>
              <a:gs pos="74000">
                <a:schemeClr val="accent5">
                  <a:lumMod val="75000"/>
                </a:schemeClr>
              </a:gs>
              <a:gs pos="83000">
                <a:schemeClr val="accent5">
                  <a:lumMod val="75000"/>
                </a:schemeClr>
              </a:gs>
              <a:gs pos="100000">
                <a:srgbClr val="002C7A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35" name="object 43"/>
          <p:cNvSpPr txBox="1">
            <a:spLocks/>
          </p:cNvSpPr>
          <p:nvPr/>
        </p:nvSpPr>
        <p:spPr>
          <a:xfrm>
            <a:off x="646412" y="1730856"/>
            <a:ext cx="4481285" cy="505902"/>
          </a:xfrm>
          <a:prstGeom prst="rect">
            <a:avLst/>
          </a:prstGeom>
        </p:spPr>
        <p:txBody>
          <a:bodyPr vert="horz" wrap="square" lIns="0" tIns="13329" rIns="0" bIns="0" rtlCol="0">
            <a:spAutoFit/>
          </a:bodyPr>
          <a:lstStyle>
            <a:lvl1pPr>
              <a:defRPr sz="1600" b="0" i="0">
                <a:solidFill>
                  <a:schemeClr val="tx1"/>
                </a:solidFill>
                <a:latin typeface="Segoe UI Light"/>
                <a:ea typeface="+mj-ea"/>
                <a:cs typeface="Segoe UI Light"/>
              </a:defRPr>
            </a:lvl1pPr>
          </a:lstStyle>
          <a:p>
            <a:pPr marL="12694" algn="ctr" defTabSz="913936" eaLnBrk="0" fontAlgn="base" hangingPunct="0">
              <a:spcBef>
                <a:spcPts val="105"/>
              </a:spcBef>
              <a:spcAft>
                <a:spcPct val="0"/>
              </a:spcAft>
              <a:defRPr/>
            </a:pPr>
            <a:r>
              <a:rPr lang="ru-RU" sz="3200" b="1" spc="-100" dirty="0">
                <a:solidFill>
                  <a:srgbClr val="00B05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65</a:t>
            </a:r>
            <a:r>
              <a:rPr lang="ru-RU" sz="2000" b="1" spc="-100" dirty="0" smtClean="0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 </a:t>
            </a:r>
            <a:r>
              <a:rPr lang="ru-RU" sz="2000" b="1" spc="-100" dirty="0" err="1" smtClean="0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шекаралық</a:t>
            </a:r>
            <a:r>
              <a:rPr lang="ru-RU" sz="2000" b="1" spc="-100" dirty="0" smtClean="0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 </a:t>
            </a:r>
            <a:r>
              <a:rPr lang="ru-RU" sz="2000" b="1" spc="-100" dirty="0" err="1" smtClean="0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аудандар</a:t>
            </a:r>
            <a:endParaRPr lang="kk-KZ" sz="3200" b="1" spc="-100" dirty="0">
              <a:solidFill>
                <a:srgbClr val="00B050"/>
              </a:solidFill>
              <a:latin typeface="Arial" panose="020B0604020202020204" pitchFamily="34" charset="0"/>
              <a:ea typeface="+mn-lt"/>
              <a:cs typeface="Arial" panose="020B0604020202020204" pitchFamily="34" charset="0"/>
            </a:endParaRPr>
          </a:p>
        </p:txBody>
      </p:sp>
      <p:sp>
        <p:nvSpPr>
          <p:cNvPr id="39" name="object 43"/>
          <p:cNvSpPr txBox="1">
            <a:spLocks/>
          </p:cNvSpPr>
          <p:nvPr/>
        </p:nvSpPr>
        <p:spPr>
          <a:xfrm>
            <a:off x="1178095" y="2786289"/>
            <a:ext cx="3153747" cy="505902"/>
          </a:xfrm>
          <a:prstGeom prst="rect">
            <a:avLst/>
          </a:prstGeom>
        </p:spPr>
        <p:txBody>
          <a:bodyPr vert="horz" wrap="square" lIns="0" tIns="13329" rIns="0" bIns="0" rtlCol="0">
            <a:spAutoFit/>
          </a:bodyPr>
          <a:lstStyle>
            <a:lvl1pPr>
              <a:defRPr sz="1600" b="0" i="0">
                <a:solidFill>
                  <a:schemeClr val="tx1"/>
                </a:solidFill>
                <a:latin typeface="Segoe UI Light"/>
                <a:ea typeface="+mj-ea"/>
                <a:cs typeface="Segoe UI Light"/>
              </a:defRPr>
            </a:lvl1pPr>
          </a:lstStyle>
          <a:p>
            <a:pPr algn="ctr" fontAlgn="base">
              <a:spcBef>
                <a:spcPts val="105"/>
              </a:spcBef>
              <a:spcAft>
                <a:spcPct val="0"/>
              </a:spcAft>
              <a:defRPr/>
            </a:pPr>
            <a:r>
              <a:rPr lang="ru-RU" sz="3200" b="1" spc="-100" dirty="0">
                <a:solidFill>
                  <a:srgbClr val="00B05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1 283 </a:t>
            </a:r>
            <a:r>
              <a:rPr lang="ru-RU" sz="2000" b="1" spc="-100" dirty="0" err="1" smtClean="0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шекаралық</a:t>
            </a:r>
            <a:r>
              <a:rPr lang="ru-RU" sz="2000" b="1" spc="-100" dirty="0" smtClean="0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 АЕМ</a:t>
            </a:r>
          </a:p>
        </p:txBody>
      </p:sp>
      <p:cxnSp>
        <p:nvCxnSpPr>
          <p:cNvPr id="43" name="Straight Connector 43">
            <a:extLst>
              <a:ext uri="{FF2B5EF4-FFF2-40B4-BE49-F238E27FC236}">
                <a16:creationId xmlns:a16="http://schemas.microsoft.com/office/drawing/2014/main" xmlns="" id="{653D544F-5913-4618-A7BD-9B51A7D466F5}"/>
              </a:ext>
            </a:extLst>
          </p:cNvPr>
          <p:cNvCxnSpPr>
            <a:cxnSpLocks/>
          </p:cNvCxnSpPr>
          <p:nvPr/>
        </p:nvCxnSpPr>
        <p:spPr>
          <a:xfrm>
            <a:off x="1608816" y="1558171"/>
            <a:ext cx="2402211" cy="0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Прямоугольник 21">
            <a:extLst>
              <a:ext uri="{FF2B5EF4-FFF2-40B4-BE49-F238E27FC236}">
                <a16:creationId xmlns:a16="http://schemas.microsoft.com/office/drawing/2014/main" xmlns="" id="{85846C35-F07D-4CE7-B7D0-32A0054B916E}"/>
              </a:ext>
            </a:extLst>
          </p:cNvPr>
          <p:cNvSpPr/>
          <p:nvPr/>
        </p:nvSpPr>
        <p:spPr>
          <a:xfrm>
            <a:off x="5859439" y="851299"/>
            <a:ext cx="2881424" cy="539087"/>
          </a:xfrm>
          <a:prstGeom prst="rect">
            <a:avLst/>
          </a:prstGeom>
          <a:noFill/>
          <a:ln>
            <a:noFill/>
          </a:ln>
        </p:spPr>
        <p:txBody>
          <a:bodyPr wrap="square" lIns="68580" tIns="34290" rIns="68580" bIns="34290" anchor="ctr">
            <a:noAutofit/>
          </a:bodyPr>
          <a:lstStyle/>
          <a:p>
            <a:pPr algn="ctr"/>
            <a:r>
              <a:rPr lang="ru-RU" sz="3200" b="1" spc="-100" dirty="0" smtClean="0">
                <a:solidFill>
                  <a:srgbClr val="00B05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1,9 </a:t>
            </a:r>
            <a:r>
              <a:rPr lang="ru-RU" sz="2000" b="1" spc="-100" dirty="0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млн. </a:t>
            </a:r>
            <a:r>
              <a:rPr lang="kk-KZ" sz="2000" b="1" spc="-100" dirty="0" smtClean="0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тұрғындар</a:t>
            </a:r>
            <a:r>
              <a:rPr lang="ru-RU" sz="2000" b="1" spc="-100" dirty="0" smtClean="0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 </a:t>
            </a:r>
          </a:p>
        </p:txBody>
      </p:sp>
      <p:sp>
        <p:nvSpPr>
          <p:cNvPr id="51" name="Прямоугольник 21">
            <a:extLst>
              <a:ext uri="{FF2B5EF4-FFF2-40B4-BE49-F238E27FC236}">
                <a16:creationId xmlns:a16="http://schemas.microsoft.com/office/drawing/2014/main" xmlns="" id="{85846C35-F07D-4CE7-B7D0-32A0054B916E}"/>
              </a:ext>
            </a:extLst>
          </p:cNvPr>
          <p:cNvSpPr/>
          <p:nvPr/>
        </p:nvSpPr>
        <p:spPr>
          <a:xfrm>
            <a:off x="5705908" y="2158176"/>
            <a:ext cx="3279810" cy="1614711"/>
          </a:xfrm>
          <a:prstGeom prst="rect">
            <a:avLst/>
          </a:prstGeom>
          <a:noFill/>
          <a:ln>
            <a:noFill/>
          </a:ln>
        </p:spPr>
        <p:txBody>
          <a:bodyPr wrap="square" lIns="68580" tIns="34290" rIns="68580" bIns="34290" anchor="ctr">
            <a:noAutofit/>
          </a:bodyPr>
          <a:lstStyle/>
          <a:p>
            <a:pPr algn="ctr"/>
            <a:r>
              <a:rPr lang="ru-RU" sz="1800" b="1" spc="-100" dirty="0" err="1" smtClean="0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Шекара</a:t>
            </a:r>
            <a:r>
              <a:rPr lang="ru-RU" sz="1800" b="1" spc="-100" dirty="0" smtClean="0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 </a:t>
            </a:r>
            <a:r>
              <a:rPr lang="ru-RU" sz="1800" b="1" spc="-100" dirty="0" err="1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маңында</a:t>
            </a:r>
            <a:r>
              <a:rPr lang="ru-RU" sz="1800" b="1" spc="-100" dirty="0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 </a:t>
            </a:r>
            <a:r>
              <a:rPr lang="ru-RU" sz="1800" b="1" spc="-100" dirty="0" err="1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орналасқан</a:t>
            </a:r>
            <a:r>
              <a:rPr lang="ru-RU" sz="1800" b="1" spc="-100" dirty="0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 </a:t>
            </a:r>
            <a:r>
              <a:rPr lang="ru-RU" sz="3200" b="1" spc="-100" dirty="0">
                <a:solidFill>
                  <a:srgbClr val="00B05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9</a:t>
            </a:r>
            <a:r>
              <a:rPr lang="ru-RU" sz="1800" b="1" spc="-100" dirty="0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 </a:t>
            </a:r>
            <a:r>
              <a:rPr lang="ru-RU" sz="1800" b="1" spc="-100" dirty="0" err="1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шағын</a:t>
            </a:r>
            <a:r>
              <a:rPr lang="ru-RU" sz="1800" b="1" spc="-100" dirty="0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 </a:t>
            </a:r>
            <a:r>
              <a:rPr lang="ru-RU" sz="1800" b="1" spc="-100" dirty="0" err="1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қалалар</a:t>
            </a:r>
            <a:r>
              <a:rPr lang="ru-RU" sz="1800" b="1" spc="-100" dirty="0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 бар </a:t>
            </a:r>
            <a:r>
              <a:rPr lang="kk-KZ" sz="1800" b="1" spc="-100" dirty="0" smtClean="0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kk-KZ" sz="1200" i="1" spc="-100" dirty="0" smtClean="0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(</a:t>
            </a:r>
            <a:r>
              <a:rPr lang="kk-KZ" sz="1200" i="1" spc="-100" dirty="0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Жаркент, Зайсан, </a:t>
            </a:r>
            <a:r>
              <a:rPr lang="kk-KZ" sz="1200" i="1" spc="-100" dirty="0" smtClean="0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Сарыағаш</a:t>
            </a:r>
            <a:r>
              <a:rPr lang="kk-KZ" sz="1200" i="1" spc="-100" dirty="0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, Шардара, Шемонаиха, Мамлютка, Булаев, </a:t>
            </a:r>
            <a:r>
              <a:rPr lang="kk-KZ" sz="1200" i="1" spc="-100" dirty="0" smtClean="0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Жетісай</a:t>
            </a:r>
            <a:r>
              <a:rPr lang="kk-KZ" sz="1200" i="1" spc="-100" dirty="0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, </a:t>
            </a:r>
            <a:r>
              <a:rPr lang="kk-KZ" sz="1200" i="1" spc="-100" dirty="0" smtClean="0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Жітіқара)</a:t>
            </a:r>
            <a:endParaRPr lang="ru-RU" sz="1200" i="1" spc="-100" dirty="0" smtClean="0">
              <a:solidFill>
                <a:srgbClr val="003BA3">
                  <a:lumMod val="50000"/>
                </a:srgbClr>
              </a:solidFill>
              <a:latin typeface="Arial" panose="020B0604020202020204" pitchFamily="34" charset="0"/>
              <a:ea typeface="+mn-lt"/>
              <a:cs typeface="Arial" panose="020B0604020202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7950" y="4115775"/>
            <a:ext cx="8742247" cy="5878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215" algn="just">
              <a:lnSpc>
                <a:spcPct val="115000"/>
              </a:lnSpc>
              <a:tabLst>
                <a:tab pos="1980565" algn="l"/>
              </a:tabLst>
            </a:pPr>
            <a:r>
              <a:rPr lang="ru-RU" sz="14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екара</a:t>
            </a:r>
            <a:r>
              <a:rPr lang="ru-RU" sz="14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аңындағы</a:t>
            </a:r>
            <a:r>
              <a:rPr lang="ru-RU" sz="1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умақтар</a:t>
            </a:r>
            <a:r>
              <a:rPr lang="ru-RU" sz="1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– </a:t>
            </a:r>
            <a:r>
              <a:rPr lang="ru-RU" sz="14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зақстан</a:t>
            </a:r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еспубликасының</a:t>
            </a:r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емлекеттік</a:t>
            </a:r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екарасынан</a:t>
            </a:r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50 км </a:t>
            </a:r>
            <a:r>
              <a:rPr lang="ru-RU" sz="14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дейінгі</a:t>
            </a:r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шықтықта</a:t>
            </a:r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рналасқан</a:t>
            </a:r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әкімшілік-аумақтық</a:t>
            </a:r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ұрылымдардың</a:t>
            </a:r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әне</a:t>
            </a:r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елді</a:t>
            </a:r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екендердің</a:t>
            </a:r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умақтары</a:t>
            </a:r>
            <a:endParaRPr lang="ru-RU" sz="14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9" name="object 25"/>
          <p:cNvSpPr/>
          <p:nvPr/>
        </p:nvSpPr>
        <p:spPr>
          <a:xfrm>
            <a:off x="4723328" y="1152925"/>
            <a:ext cx="45719" cy="2322004"/>
          </a:xfrm>
          <a:custGeom>
            <a:avLst/>
            <a:gdLst/>
            <a:ahLst/>
            <a:cxnLst/>
            <a:rect l="l" t="t" r="r" b="b"/>
            <a:pathLst>
              <a:path h="1647825">
                <a:moveTo>
                  <a:pt x="0" y="0"/>
                </a:moveTo>
                <a:lnTo>
                  <a:pt x="0" y="1647443"/>
                </a:lnTo>
              </a:path>
            </a:pathLst>
          </a:custGeom>
          <a:ln w="6096">
            <a:solidFill>
              <a:srgbClr val="808080"/>
            </a:solidFill>
          </a:ln>
        </p:spPr>
        <p:txBody>
          <a:bodyPr wrap="square" lIns="0" tIns="0" rIns="0" bIns="0" rtlCol="0"/>
          <a:lstStyle/>
          <a:p>
            <a:pPr defTabSz="913936">
              <a:defRPr/>
            </a:pPr>
            <a:endParaRPr sz="1800" kern="0">
              <a:solidFill>
                <a:sysClr val="windowText" lastClr="000000"/>
              </a:solidFill>
            </a:endParaRPr>
          </a:p>
        </p:txBody>
      </p:sp>
      <p:cxnSp>
        <p:nvCxnSpPr>
          <p:cNvPr id="52" name="Straight Connector 43">
            <a:extLst>
              <a:ext uri="{FF2B5EF4-FFF2-40B4-BE49-F238E27FC236}">
                <a16:creationId xmlns:a16="http://schemas.microsoft.com/office/drawing/2014/main" xmlns="" id="{653D544F-5913-4618-A7BD-9B51A7D466F5}"/>
              </a:ext>
            </a:extLst>
          </p:cNvPr>
          <p:cNvCxnSpPr>
            <a:cxnSpLocks/>
          </p:cNvCxnSpPr>
          <p:nvPr/>
        </p:nvCxnSpPr>
        <p:spPr>
          <a:xfrm flipV="1">
            <a:off x="5596128" y="1939829"/>
            <a:ext cx="2950790" cy="10974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7" name="Рисунок 110"/>
          <p:cNvPicPr>
            <a:picLocks noChangeAspect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644" y="929842"/>
            <a:ext cx="599760" cy="503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" name="Рисунок 11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8860" y="2258950"/>
            <a:ext cx="550952" cy="45759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8047947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sz="quarter" idx="11"/>
          </p:nvPr>
        </p:nvSpPr>
        <p:spPr>
          <a:xfrm>
            <a:off x="0" y="107064"/>
            <a:ext cx="9143999" cy="435812"/>
          </a:xfrm>
        </p:spPr>
        <p:txBody>
          <a:bodyPr>
            <a:normAutofit/>
          </a:bodyPr>
          <a:lstStyle/>
          <a:p>
            <a:pPr algn="ctr"/>
            <a:r>
              <a:rPr lang="kk-KZ" sz="2000" cap="small" dirty="0" smtClean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Шекаралас аумақтардың проблемалық мәселелері</a:t>
            </a:r>
            <a:endParaRPr lang="ru-RU" sz="2000" cap="small" dirty="0">
              <a:solidFill>
                <a:srgbClr val="0070C0"/>
              </a:solidFill>
              <a:latin typeface="Arial" panose="020B0604020202020204" pitchFamily="34" charset="0"/>
              <a:ea typeface="Tahoma" panose="020B0604030504040204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146521" y="767962"/>
            <a:ext cx="8850955" cy="37548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Елдің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екаралас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ймақтары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халықтың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ан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сына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аққандағы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рташа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абысы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ойынша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сқа</a:t>
            </a:r>
            <a:r>
              <a:rPr lang="ru-RU" sz="14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емлекеттердің</a:t>
            </a:r>
            <a:r>
              <a:rPr lang="ru-RU" sz="14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ірқатар</a:t>
            </a:r>
            <a:r>
              <a:rPr lang="ru-RU" sz="14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екаралас</a:t>
            </a:r>
            <a:r>
              <a:rPr lang="ru-RU" sz="14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i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(КХР, РФ) </a:t>
            </a:r>
            <a:r>
              <a:rPr lang="ru-RU" sz="14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блысттарынан</a:t>
            </a:r>
            <a:r>
              <a:rPr lang="ru-RU" sz="14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ртта</a:t>
            </a:r>
            <a:r>
              <a:rPr lang="ru-RU" sz="14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луда</a:t>
            </a:r>
            <a:endParaRPr lang="ru-RU" sz="14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kk-KZ" sz="800" dirty="0" smtClean="0">
              <a:solidFill>
                <a:srgbClr val="4472C4">
                  <a:lumMod val="50000"/>
                </a:srgbClr>
              </a:solidFill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ҚО, ШҚО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екаралас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удандарында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халықтың</a:t>
            </a:r>
            <a:r>
              <a:rPr lang="ru-RU" sz="14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ығыздығы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рташа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еспубликалық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деңгейден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өмен</a:t>
            </a:r>
            <a:endParaRPr lang="ru-RU" sz="1400" b="1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ru-RU" sz="800" dirty="0">
              <a:solidFill>
                <a:srgbClr val="4472C4">
                  <a:lumMod val="50000"/>
                </a:srgbClr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ұмыс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рындарының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оқтығы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,табыстың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здығы</a:t>
            </a:r>
            <a:r>
              <a:rPr lang="ru-RU" sz="14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ru-RU" sz="8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өлік</a:t>
            </a:r>
            <a:r>
              <a:rPr lang="ru-RU" sz="14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олжетімділігінің</a:t>
            </a:r>
            <a:r>
              <a:rPr lang="ru-RU" sz="14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өмендігі</a:t>
            </a:r>
            <a:endParaRPr lang="ru-RU" sz="14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ru-RU" sz="8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Әлеуметтік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әне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инженерлік-көліктік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инфрақұрылымдардың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озуы</a:t>
            </a:r>
            <a:endParaRPr lang="ru-RU" sz="1400" b="1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ru-RU" sz="800" dirty="0">
              <a:solidFill>
                <a:srgbClr val="4472C4">
                  <a:lumMod val="50000"/>
                </a:srgbClr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екаралас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умақтардың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экономикасына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ергілікті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әсіпкерлердің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тысу</a:t>
            </a:r>
            <a:r>
              <a:rPr lang="ru-RU" sz="14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үлесінің</a:t>
            </a:r>
            <a:r>
              <a:rPr lang="ru-RU" sz="14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өмендігі</a:t>
            </a:r>
            <a:endParaRPr lang="ru-RU" sz="1400" b="1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algn="just"/>
            <a:endParaRPr lang="ru-RU" sz="8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уристік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аршруттардың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әне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уристік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инфрақұрылымының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даму </a:t>
            </a:r>
            <a:r>
              <a:rPr lang="ru-RU" sz="14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деңгейінің</a:t>
            </a:r>
            <a:r>
              <a:rPr lang="ru-RU" sz="14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өмендігі</a:t>
            </a:r>
            <a:endParaRPr lang="ru-RU" sz="14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ru-RU" sz="8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algn="just"/>
            <a:endParaRPr lang="kk-KZ" sz="3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Ұялы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йланыс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, интернет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әне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ошта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ызметтерінің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пасыздығы</a:t>
            </a:r>
            <a:endParaRPr lang="ru-RU" sz="14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ru-RU" sz="8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ru-RU" sz="3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ілікті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адрлардың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апшылығы</a:t>
            </a:r>
            <a:r>
              <a:rPr lang="ru-RU" sz="14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,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әлеуметтік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ысандардың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атериалдық-техникалық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засының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әне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өрсетілетін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ызмет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пасының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өмен</a:t>
            </a:r>
            <a:r>
              <a:rPr lang="ru-RU" sz="14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деңгейі</a:t>
            </a:r>
            <a:endParaRPr lang="ru-RU" sz="300" dirty="0" smtClean="0">
              <a:solidFill>
                <a:srgbClr val="4472C4">
                  <a:lumMod val="50000"/>
                </a:srgbClr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8797159" y="4897279"/>
            <a:ext cx="346841" cy="2462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defTabSz="457200">
              <a:defRPr/>
            </a:pPr>
            <a:r>
              <a:rPr lang="kk-KZ" sz="1000" dirty="0">
                <a:solidFill>
                  <a:srgbClr val="000000"/>
                </a:solidFill>
                <a:ea typeface="ＭＳ Ｐゴシック"/>
              </a:rPr>
              <a:t>3</a:t>
            </a:r>
            <a:endParaRPr lang="kk-KZ" sz="1000" dirty="0" smtClean="0">
              <a:solidFill>
                <a:srgbClr val="000000"/>
              </a:solidFill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2495944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sz="quarter" idx="11"/>
          </p:nvPr>
        </p:nvSpPr>
        <p:spPr>
          <a:xfrm>
            <a:off x="0" y="82456"/>
            <a:ext cx="9143999" cy="435812"/>
          </a:xfrm>
        </p:spPr>
        <p:txBody>
          <a:bodyPr>
            <a:noAutofit/>
          </a:bodyPr>
          <a:lstStyle/>
          <a:p>
            <a:pPr algn="ctr"/>
            <a:r>
              <a:rPr lang="ru-RU" cap="small" dirty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Ауылдық </a:t>
            </a:r>
            <a:r>
              <a:rPr lang="ru-RU" cap="small" dirty="0" err="1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аумақтарды</a:t>
            </a:r>
            <a:r>
              <a:rPr lang="ru-RU" cap="small" dirty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 </a:t>
            </a:r>
            <a:r>
              <a:rPr lang="ru-RU" cap="small" dirty="0" err="1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дамытудың</a:t>
            </a:r>
            <a:r>
              <a:rPr lang="ru-RU" cap="small" dirty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 2023-2027 </a:t>
            </a:r>
            <a:r>
              <a:rPr lang="ru-RU" cap="small" dirty="0" err="1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жылдарға</a:t>
            </a:r>
            <a:r>
              <a:rPr lang="ru-RU" cap="small" dirty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 </a:t>
            </a:r>
            <a:r>
              <a:rPr lang="ru-RU" cap="small" dirty="0" err="1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арналған</a:t>
            </a:r>
            <a:r>
              <a:rPr lang="ru-RU" cap="small" dirty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 </a:t>
            </a:r>
            <a:r>
              <a:rPr lang="ru-RU" cap="small" dirty="0" err="1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тұжырымдамасы</a:t>
            </a:r>
            <a:endParaRPr lang="ru-RU" cap="small" dirty="0">
              <a:solidFill>
                <a:srgbClr val="0070C0"/>
              </a:solidFill>
              <a:latin typeface="Arial" panose="020B0604020202020204" pitchFamily="34" charset="0"/>
              <a:ea typeface="Tahoma" panose="020B0604030504040204" pitchFamily="34" charset="0"/>
            </a:endParaRPr>
          </a:p>
        </p:txBody>
      </p:sp>
      <p:cxnSp>
        <p:nvCxnSpPr>
          <p:cNvPr id="48" name="Straight Connector 124">
            <a:extLst>
              <a:ext uri="{FF2B5EF4-FFF2-40B4-BE49-F238E27FC236}">
                <a16:creationId xmlns="" xmlns:a16="http://schemas.microsoft.com/office/drawing/2014/main" id="{4022312E-D9E3-42F6-8E2D-D89C8C33D6D4}"/>
              </a:ext>
            </a:extLst>
          </p:cNvPr>
          <p:cNvCxnSpPr>
            <a:cxnSpLocks/>
          </p:cNvCxnSpPr>
          <p:nvPr/>
        </p:nvCxnSpPr>
        <p:spPr>
          <a:xfrm>
            <a:off x="153275" y="1726157"/>
            <a:ext cx="8794113" cy="0"/>
          </a:xfrm>
          <a:prstGeom prst="line">
            <a:avLst/>
          </a:prstGeom>
          <a:noFill/>
          <a:ln w="19050" cap="flat" cmpd="sng" algn="ctr">
            <a:solidFill>
              <a:srgbClr val="5B9BD5"/>
            </a:solidFill>
            <a:prstDash val="solid"/>
            <a:miter lim="800000"/>
          </a:ln>
          <a:effectLst/>
        </p:spPr>
      </p:cxnSp>
      <p:sp>
        <p:nvSpPr>
          <p:cNvPr id="99" name="Прямоугольник 98"/>
          <p:cNvSpPr/>
          <p:nvPr/>
        </p:nvSpPr>
        <p:spPr>
          <a:xfrm>
            <a:off x="712712" y="1971851"/>
            <a:ext cx="8292475" cy="3000819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algn="just" fontAlgn="ctr"/>
            <a:r>
              <a:rPr lang="kk-KZ" sz="15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уылдық аумақтарды дамытудың 2023-2027 жылдарға арналған </a:t>
            </a:r>
            <a:r>
              <a:rPr lang="kk-KZ" sz="15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ұжырымдамасында шекара маңындағы аумақтарды дамыту жөніндегі іс-шаралар көзделген</a:t>
            </a:r>
            <a:r>
              <a:rPr lang="kk-KZ" sz="15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:</a:t>
            </a:r>
          </a:p>
          <a:p>
            <a:pPr algn="just" fontAlgn="ctr"/>
            <a:endParaRPr lang="kk-KZ" sz="8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 algn="just" fontAlgn="ctr">
              <a:buFont typeface="Wingdings" panose="05000000000000000000" pitchFamily="2" charset="2"/>
              <a:buChar char="ü"/>
            </a:pPr>
            <a:r>
              <a:rPr lang="ru-RU" sz="15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екара </a:t>
            </a:r>
            <a:r>
              <a:rPr lang="ru-RU" sz="15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аңы</a:t>
            </a:r>
            <a:r>
              <a:rPr lang="ru-RU" sz="15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умақтарында</a:t>
            </a:r>
            <a:r>
              <a:rPr lang="ru-RU" sz="15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әлеуметтік</a:t>
            </a:r>
            <a:r>
              <a:rPr lang="ru-RU" sz="15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әне</a:t>
            </a:r>
            <a:r>
              <a:rPr lang="ru-RU" sz="15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инженерлік</a:t>
            </a:r>
            <a:r>
              <a:rPr lang="ru-RU" sz="15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инрфқұрылымды</a:t>
            </a:r>
            <a:r>
              <a:rPr lang="ru-RU" sz="15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салу, </a:t>
            </a:r>
            <a:r>
              <a:rPr lang="ru-RU" sz="15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еконструциялау</a:t>
            </a:r>
            <a:r>
              <a:rPr lang="ru-RU" sz="15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sz="15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өндеу</a:t>
            </a:r>
            <a:endParaRPr lang="ru-RU" sz="15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algn="just" fontAlgn="ctr"/>
            <a:endParaRPr lang="ru-RU" sz="8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 algn="just" fontAlgn="ctr">
              <a:buFont typeface="Wingdings" panose="05000000000000000000" pitchFamily="2" charset="2"/>
              <a:buChar char="ü"/>
            </a:pPr>
            <a:r>
              <a:rPr lang="ru-RU" sz="15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екара </a:t>
            </a:r>
            <a:r>
              <a:rPr lang="ru-RU" sz="15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аңындағы</a:t>
            </a:r>
            <a:r>
              <a:rPr lang="ru-RU" sz="15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уылдық</a:t>
            </a:r>
            <a:r>
              <a:rPr lang="ru-RU" sz="15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елді</a:t>
            </a:r>
            <a:r>
              <a:rPr lang="ru-RU" sz="15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екендерді</a:t>
            </a:r>
            <a:r>
              <a:rPr lang="ru-RU" sz="15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цифрлық</a:t>
            </a:r>
            <a:r>
              <a:rPr lang="ru-RU" sz="15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эфирлік</a:t>
            </a:r>
            <a:r>
              <a:rPr lang="ru-RU" sz="15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елерадио</a:t>
            </a:r>
            <a:r>
              <a:rPr lang="ru-RU" sz="15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хабарларын</a:t>
            </a:r>
            <a:r>
              <a:rPr lang="ru-RU" sz="15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аратудың</a:t>
            </a:r>
            <a:r>
              <a:rPr lang="ru-RU" sz="15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тандық</a:t>
            </a:r>
            <a:r>
              <a:rPr lang="ru-RU" sz="15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елеарналарымен</a:t>
            </a:r>
            <a:r>
              <a:rPr lang="ru-RU" sz="15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мтамасыз</a:t>
            </a:r>
            <a:r>
              <a:rPr lang="ru-RU" sz="15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ету</a:t>
            </a:r>
            <a:r>
              <a:rPr lang="ru-RU" sz="15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endParaRPr lang="ru-RU" sz="15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 algn="just" fontAlgn="ctr">
              <a:buFont typeface="Wingdings" panose="05000000000000000000" pitchFamily="2" charset="2"/>
              <a:buChar char="ü"/>
            </a:pPr>
            <a:endParaRPr lang="ru-RU" sz="8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 algn="just" fontAlgn="ctr">
              <a:buFont typeface="Wingdings" panose="05000000000000000000" pitchFamily="2" charset="2"/>
              <a:buChar char="ü"/>
            </a:pPr>
            <a:r>
              <a:rPr lang="ru-RU" sz="15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Еңбек</a:t>
            </a:r>
            <a:r>
              <a:rPr lang="ru-RU" sz="15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апшылығы</a:t>
            </a:r>
            <a:r>
              <a:rPr lang="ru-RU" sz="15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бар </a:t>
            </a:r>
            <a:r>
              <a:rPr lang="ru-RU" sz="15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өңірлердің</a:t>
            </a:r>
            <a:r>
              <a:rPr lang="ru-RU" sz="15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екара</a:t>
            </a:r>
            <a:r>
              <a:rPr lang="ru-RU" sz="15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аңындағы</a:t>
            </a:r>
            <a:r>
              <a:rPr lang="ru-RU" sz="15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уылдық</a:t>
            </a:r>
            <a:r>
              <a:rPr lang="ru-RU" sz="15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кругтер</a:t>
            </a:r>
            <a:r>
              <a:rPr lang="ru-RU" sz="15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ұрғындарының</a:t>
            </a:r>
            <a:r>
              <a:rPr lang="ru-RU" sz="15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алақысына</a:t>
            </a:r>
            <a:r>
              <a:rPr lang="ru-RU" sz="15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үстемеақы</a:t>
            </a:r>
            <a:r>
              <a:rPr lang="ru-RU" sz="15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енгізу</a:t>
            </a:r>
            <a:r>
              <a:rPr lang="ru-RU" sz="15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ойынша</a:t>
            </a:r>
            <a:r>
              <a:rPr lang="ru-RU" sz="15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ұсыныстар</a:t>
            </a:r>
            <a:r>
              <a:rPr lang="ru-RU" sz="15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5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енгізу</a:t>
            </a:r>
            <a:endParaRPr lang="ru-RU" sz="15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 algn="just" fontAlgn="ctr">
              <a:buFont typeface="Wingdings" panose="05000000000000000000" pitchFamily="2" charset="2"/>
              <a:buChar char="ü"/>
            </a:pPr>
            <a:endParaRPr lang="ru-RU" sz="8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 algn="just" fontAlgn="ctr">
              <a:buFont typeface="Wingdings" panose="05000000000000000000" pitchFamily="2" charset="2"/>
              <a:buChar char="ü"/>
            </a:pPr>
            <a:r>
              <a:rPr lang="ru-RU" sz="15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Өткізу</a:t>
            </a:r>
            <a:r>
              <a:rPr lang="ru-RU" sz="15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ункттерінің</a:t>
            </a:r>
            <a:r>
              <a:rPr lang="ru-RU" sz="15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инфрақұрылымын</a:t>
            </a:r>
            <a:r>
              <a:rPr lang="ru-RU" sz="15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дамыту</a:t>
            </a:r>
            <a:r>
              <a:rPr lang="ru-RU" sz="15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әне</a:t>
            </a:r>
            <a:r>
              <a:rPr lang="ru-RU" sz="15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айластыру</a:t>
            </a:r>
            <a:r>
              <a:rPr lang="ru-RU" sz="15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marL="285750" indent="-285750" algn="just" fontAlgn="ctr">
              <a:buFont typeface="Wingdings" panose="05000000000000000000" pitchFamily="2" charset="2"/>
              <a:buChar char="ü"/>
            </a:pPr>
            <a:endParaRPr lang="ru-RU" sz="15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0" name="Рисунок 11"/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389" y="2069302"/>
            <a:ext cx="452076" cy="4354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1" name="Прямоугольник 110"/>
          <p:cNvSpPr/>
          <p:nvPr/>
        </p:nvSpPr>
        <p:spPr>
          <a:xfrm>
            <a:off x="4774218" y="734803"/>
            <a:ext cx="4173170" cy="815600"/>
          </a:xfrm>
          <a:prstGeom prst="rect">
            <a:avLst/>
          </a:prstGeom>
        </p:spPr>
        <p:txBody>
          <a:bodyPr wrap="square" lIns="121912" tIns="60956" rIns="121912" bIns="60956">
            <a:spAutoFit/>
          </a:bodyPr>
          <a:lstStyle/>
          <a:p>
            <a:pPr algn="ctr" defTabSz="681124"/>
            <a:r>
              <a:rPr lang="ru-RU" sz="15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уыл </a:t>
            </a:r>
            <a:r>
              <a:rPr lang="ru-RU" sz="15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ұрғындарының</a:t>
            </a:r>
            <a:r>
              <a:rPr lang="ru-RU" sz="15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500" b="1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өмір</a:t>
            </a:r>
            <a:r>
              <a:rPr lang="ru-RU" sz="15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500" b="1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үру</a:t>
            </a:r>
            <a:r>
              <a:rPr lang="ru-RU" sz="15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500" b="1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пасын</a:t>
            </a:r>
            <a:r>
              <a:rPr lang="ru-RU" sz="15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әне</a:t>
            </a:r>
            <a:r>
              <a:rPr lang="ru-RU" sz="15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500" b="1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лардың</a:t>
            </a:r>
            <a:r>
              <a:rPr lang="ru-RU" sz="15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500" b="1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абыс</a:t>
            </a:r>
            <a:r>
              <a:rPr lang="ru-RU" sz="15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500" b="1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деңгейін</a:t>
            </a:r>
            <a:r>
              <a:rPr lang="ru-RU" sz="15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рттыру</a:t>
            </a:r>
            <a:r>
              <a:rPr lang="ru-RU" sz="15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үшін</a:t>
            </a:r>
            <a:r>
              <a:rPr lang="ru-RU" sz="15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ағдай</a:t>
            </a:r>
            <a:r>
              <a:rPr lang="ru-RU" sz="15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асау</a:t>
            </a:r>
            <a:endParaRPr lang="ru-RU" sz="15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7" name="TextBox 116"/>
          <p:cNvSpPr txBox="1"/>
          <p:nvPr/>
        </p:nvSpPr>
        <p:spPr>
          <a:xfrm>
            <a:off x="502683" y="846557"/>
            <a:ext cx="3502685" cy="530913"/>
          </a:xfrm>
          <a:prstGeom prst="rect">
            <a:avLst/>
          </a:prstGeom>
          <a:noFill/>
        </p:spPr>
        <p:txBody>
          <a:bodyPr wrap="square" lIns="68577" tIns="34289" rIns="68577" bIns="34289" rtlCol="0" anchor="ctr">
            <a:spAutoFit/>
          </a:bodyPr>
          <a:lstStyle/>
          <a:p>
            <a:pPr algn="ctr" defTabSz="681124"/>
            <a:r>
              <a:rPr lang="kk-KZ" sz="15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Р Үкіметінің </a:t>
            </a:r>
            <a:r>
              <a:rPr lang="kk-KZ" sz="15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2023 жылғы 28 наурыздағы №270 </a:t>
            </a:r>
            <a:r>
              <a:rPr lang="kk-KZ" sz="15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улысы</a:t>
            </a:r>
            <a:endParaRPr lang="ru-RU" sz="15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8" name="Freeform 64">
            <a:extLst>
              <a:ext uri="{FF2B5EF4-FFF2-40B4-BE49-F238E27FC236}">
                <a16:creationId xmlns:a16="http://schemas.microsoft.com/office/drawing/2014/main" xmlns="" id="{EE53E58D-0A07-4B1C-B5C4-85DFC1214AEB}"/>
              </a:ext>
            </a:extLst>
          </p:cNvPr>
          <p:cNvSpPr>
            <a:spLocks/>
          </p:cNvSpPr>
          <p:nvPr/>
        </p:nvSpPr>
        <p:spPr bwMode="auto">
          <a:xfrm>
            <a:off x="340333" y="913628"/>
            <a:ext cx="403479" cy="396769"/>
          </a:xfrm>
          <a:custGeom>
            <a:avLst/>
            <a:gdLst>
              <a:gd name="T0" fmla="*/ 31 w 229"/>
              <a:gd name="T1" fmla="*/ 83 h 187"/>
              <a:gd name="T2" fmla="*/ 73 w 229"/>
              <a:gd name="T3" fmla="*/ 125 h 187"/>
              <a:gd name="T4" fmla="*/ 198 w 229"/>
              <a:gd name="T5" fmla="*/ 0 h 187"/>
              <a:gd name="T6" fmla="*/ 229 w 229"/>
              <a:gd name="T7" fmla="*/ 31 h 187"/>
              <a:gd name="T8" fmla="*/ 73 w 229"/>
              <a:gd name="T9" fmla="*/ 187 h 187"/>
              <a:gd name="T10" fmla="*/ 41 w 229"/>
              <a:gd name="T11" fmla="*/ 155 h 187"/>
              <a:gd name="T12" fmla="*/ 0 w 229"/>
              <a:gd name="T13" fmla="*/ 114 h 187"/>
              <a:gd name="T14" fmla="*/ 31 w 229"/>
              <a:gd name="T15" fmla="*/ 83 h 1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29" h="187">
                <a:moveTo>
                  <a:pt x="31" y="83"/>
                </a:moveTo>
                <a:cubicBezTo>
                  <a:pt x="73" y="125"/>
                  <a:pt x="73" y="125"/>
                  <a:pt x="73" y="125"/>
                </a:cubicBezTo>
                <a:cubicBezTo>
                  <a:pt x="198" y="0"/>
                  <a:pt x="198" y="0"/>
                  <a:pt x="198" y="0"/>
                </a:cubicBezTo>
                <a:cubicBezTo>
                  <a:pt x="229" y="31"/>
                  <a:pt x="229" y="31"/>
                  <a:pt x="229" y="31"/>
                </a:cubicBezTo>
                <a:cubicBezTo>
                  <a:pt x="73" y="187"/>
                  <a:pt x="73" y="187"/>
                  <a:pt x="73" y="187"/>
                </a:cubicBezTo>
                <a:cubicBezTo>
                  <a:pt x="64" y="178"/>
                  <a:pt x="53" y="168"/>
                  <a:pt x="41" y="155"/>
                </a:cubicBezTo>
                <a:cubicBezTo>
                  <a:pt x="29" y="143"/>
                  <a:pt x="16" y="130"/>
                  <a:pt x="0" y="114"/>
                </a:cubicBezTo>
                <a:lnTo>
                  <a:pt x="31" y="83"/>
                </a:lnTo>
                <a:close/>
              </a:path>
            </a:pathLst>
          </a:custGeom>
          <a:solidFill>
            <a:srgbClr val="002060"/>
          </a:solidFill>
          <a:ln>
            <a:noFill/>
          </a:ln>
        </p:spPr>
        <p:txBody>
          <a:bodyPr/>
          <a:lstStyle/>
          <a:p>
            <a:pPr marL="0" marR="0" lvl="0" indent="0" defTabSz="104261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/>
            </a:endParaRPr>
          </a:p>
        </p:txBody>
      </p:sp>
      <p:pic>
        <p:nvPicPr>
          <p:cNvPr id="120" name="Рисунок 119">
            <a:extLst>
              <a:ext uri="{FF2B5EF4-FFF2-40B4-BE49-F238E27FC236}">
                <a16:creationId xmlns="" xmlns:a16="http://schemas.microsoft.com/office/drawing/2014/main" id="{BE7C1517-5DF4-43E4-A585-E06D52AB6F8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2771" y="782117"/>
            <a:ext cx="562395" cy="561209"/>
          </a:xfrm>
          <a:prstGeom prst="rect">
            <a:avLst/>
          </a:prstGeom>
        </p:spPr>
      </p:pic>
      <p:sp>
        <p:nvSpPr>
          <p:cNvPr id="121" name="TextBox 120"/>
          <p:cNvSpPr txBox="1"/>
          <p:nvPr/>
        </p:nvSpPr>
        <p:spPr>
          <a:xfrm>
            <a:off x="8797159" y="4897279"/>
            <a:ext cx="346841" cy="2462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k-KZ" sz="1000" dirty="0">
                <a:solidFill>
                  <a:srgbClr val="000000"/>
                </a:solidFill>
                <a:latin typeface="Calibri" panose="020F0502020204030204" pitchFamily="34" charset="0"/>
                <a:ea typeface="ＭＳ Ｐゴシック"/>
              </a:rPr>
              <a:t>4</a:t>
            </a:r>
            <a:endParaRPr lang="kk-KZ" sz="1000" dirty="0" smtClean="0">
              <a:solidFill>
                <a:srgbClr val="000000"/>
              </a:solidFill>
              <a:latin typeface="Calibri" panose="020F0502020204030204" pitchFamily="34" charset="0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2885361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7" name="Straight Connector 32"/>
          <p:cNvCxnSpPr/>
          <p:nvPr/>
        </p:nvCxnSpPr>
        <p:spPr>
          <a:xfrm>
            <a:off x="0" y="363533"/>
            <a:ext cx="9144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Объект 1"/>
          <p:cNvSpPr txBox="1">
            <a:spLocks/>
          </p:cNvSpPr>
          <p:nvPr/>
        </p:nvSpPr>
        <p:spPr>
          <a:xfrm>
            <a:off x="0" y="51853"/>
            <a:ext cx="9143999" cy="202817"/>
          </a:xfrm>
          <a:prstGeom prst="rect">
            <a:avLst/>
          </a:prstGeom>
        </p:spPr>
        <p:txBody>
          <a:bodyPr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ru-RU" sz="1200" b="1" cap="small" dirty="0" err="1" smtClean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Шекаралық</a:t>
            </a:r>
            <a:r>
              <a:rPr lang="ru-RU" sz="1200" b="1" cap="small" dirty="0" smtClean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200" b="1" cap="small" dirty="0" err="1" smtClean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аумақтарды</a:t>
            </a:r>
            <a:r>
              <a:rPr lang="ru-RU" sz="1200" b="1" cap="small" dirty="0" smtClean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200" b="1" cap="small" dirty="0" err="1" smtClean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дамыту</a:t>
            </a:r>
            <a:r>
              <a:rPr lang="ru-RU" sz="1200" b="1" cap="small" dirty="0" smtClean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200" b="1" cap="small" dirty="0" err="1" smtClean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бөлігінде</a:t>
            </a:r>
            <a:r>
              <a:rPr lang="ru-RU" sz="1200" b="1" cap="small" dirty="0" smtClean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200" b="1" cap="small" dirty="0" err="1" smtClean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ауылдық</a:t>
            </a:r>
            <a:r>
              <a:rPr lang="ru-RU" sz="1200" b="1" cap="small" dirty="0" smtClean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200" b="1" cap="small" dirty="0" err="1" smtClean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елді</a:t>
            </a:r>
            <a:r>
              <a:rPr lang="ru-RU" sz="1200" b="1" cap="small" dirty="0" smtClean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200" b="1" cap="small" dirty="0" err="1" smtClean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мекендерді</a:t>
            </a:r>
            <a:r>
              <a:rPr lang="ru-RU" sz="1200" b="1" cap="small" dirty="0" smtClean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200" b="1" cap="small" dirty="0" err="1" smtClean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дамыту</a:t>
            </a:r>
            <a:r>
              <a:rPr lang="ru-RU" sz="1200" b="1" cap="small" dirty="0" smtClean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200" b="1" cap="small" dirty="0" err="1" smtClean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туралы</a:t>
            </a:r>
            <a:r>
              <a:rPr lang="ru-RU" sz="1200" b="1" cap="small" dirty="0" smtClean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200" b="1" cap="small" dirty="0" err="1" smtClean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тұжырымдамасына</a:t>
            </a:r>
            <a:r>
              <a:rPr lang="ru-RU" sz="1200" b="1" cap="small" dirty="0" smtClean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200" b="1" cap="small" dirty="0" err="1" smtClean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түзетулер</a:t>
            </a:r>
            <a:r>
              <a:rPr lang="ru-RU" sz="1200" b="1" cap="small" dirty="0" smtClean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200" b="1" cap="small" dirty="0" err="1" smtClean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енгізу</a:t>
            </a:r>
            <a:endParaRPr lang="ru-RU" sz="1200" b="1" cap="small" dirty="0">
              <a:solidFill>
                <a:srgbClr val="0070C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723521" y="436090"/>
            <a:ext cx="8073638" cy="438580"/>
          </a:xfrm>
          <a:prstGeom prst="rect">
            <a:avLst/>
          </a:prstGeom>
          <a:noFill/>
        </p:spPr>
        <p:txBody>
          <a:bodyPr wrap="square" lIns="68577" tIns="34289" rIns="68577" bIns="34289" rtlCol="0" anchor="ctr">
            <a:spAutoFit/>
          </a:bodyPr>
          <a:lstStyle/>
          <a:p>
            <a:pPr algn="just" defTabSz="681124"/>
            <a:r>
              <a:rPr lang="kk-KZ" sz="12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емлекет басшысының тапсырмасы: </a:t>
            </a:r>
            <a:r>
              <a:rPr lang="kk-KZ" sz="12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Іс-шараларды дамытудың әзірленген Тұжырымдамасы шеңберінде шекаралық іс-шараларды дамытуды қамтамасыз ету</a:t>
            </a:r>
            <a:endParaRPr lang="ru-RU" sz="12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40" name="Straight Connector 124">
            <a:extLst>
              <a:ext uri="{FF2B5EF4-FFF2-40B4-BE49-F238E27FC236}">
                <a16:creationId xmlns:a16="http://schemas.microsoft.com/office/drawing/2014/main" xmlns="" id="{4022312E-D9E3-42F6-8E2D-D89C8C33D6D4}"/>
              </a:ext>
            </a:extLst>
          </p:cNvPr>
          <p:cNvCxnSpPr>
            <a:cxnSpLocks/>
          </p:cNvCxnSpPr>
          <p:nvPr/>
        </p:nvCxnSpPr>
        <p:spPr>
          <a:xfrm>
            <a:off x="176466" y="910690"/>
            <a:ext cx="8794113" cy="0"/>
          </a:xfrm>
          <a:prstGeom prst="line">
            <a:avLst/>
          </a:prstGeom>
          <a:noFill/>
          <a:ln w="19050" cap="flat" cmpd="sng" algn="ctr">
            <a:solidFill>
              <a:srgbClr val="5B9BD5"/>
            </a:solidFill>
            <a:prstDash val="solid"/>
            <a:miter lim="800000"/>
          </a:ln>
          <a:effectLst/>
        </p:spPr>
      </p:cxnSp>
      <p:pic>
        <p:nvPicPr>
          <p:cNvPr id="41" name="Рисунок 40">
            <a:extLst>
              <a:ext uri="{FF2B5EF4-FFF2-40B4-BE49-F238E27FC236}">
                <a16:creationId xmlns="" xmlns:a16="http://schemas.microsoft.com/office/drawing/2014/main" id="{C1EB5847-813B-4A9E-A507-8F3DF0FC640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biLevel thresh="50000"/>
          </a:blip>
          <a:stretch>
            <a:fillRect/>
          </a:stretch>
        </p:blipFill>
        <p:spPr>
          <a:xfrm>
            <a:off x="260218" y="443094"/>
            <a:ext cx="389097" cy="397004"/>
          </a:xfrm>
          <a:prstGeom prst="rect">
            <a:avLst/>
          </a:prstGeom>
        </p:spPr>
      </p:pic>
      <p:sp>
        <p:nvSpPr>
          <p:cNvPr id="50" name="Прямоугольник 49"/>
          <p:cNvSpPr/>
          <p:nvPr/>
        </p:nvSpPr>
        <p:spPr>
          <a:xfrm>
            <a:off x="50415" y="1157796"/>
            <a:ext cx="8920164" cy="3847205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algn="just" fontAlgn="ctr"/>
            <a:endParaRPr lang="kk-KZ" sz="7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 algn="just" fontAlgn="ctr">
              <a:buFont typeface="Wingdings" panose="05000000000000000000" pitchFamily="2" charset="2"/>
              <a:buChar char="ü"/>
            </a:pPr>
            <a:r>
              <a:rPr lang="kk-KZ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осымша талдау жүргізілуде </a:t>
            </a:r>
            <a:r>
              <a:rPr lang="kk-KZ" sz="900" i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(ӘЭД көрсеткіштерін салыстыру, проблемалық мәселелер бойынша мәліметтерді жинау, мемлекеттік басымдықты қолдау үшін шекаралық елді мекендерді жіктеу жүргізілуде)</a:t>
            </a:r>
          </a:p>
          <a:p>
            <a:pPr marL="285750" indent="-285750" algn="just" fontAlgn="ctr">
              <a:buFont typeface="Wingdings" panose="05000000000000000000" pitchFamily="2" charset="2"/>
              <a:buChar char="ü"/>
            </a:pPr>
            <a:endParaRPr lang="kk-KZ" sz="300" i="1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 algn="just" fontAlgn="ctr">
              <a:buFont typeface="Wingdings" panose="05000000000000000000" pitchFamily="2" charset="2"/>
              <a:buChar char="ü"/>
            </a:pPr>
            <a:r>
              <a:rPr lang="kk-KZ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Халықаралық тәжірибені зерделеу </a:t>
            </a:r>
            <a:r>
              <a:rPr lang="kk-KZ" sz="900" i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(ҚХР, РФ, Мексика – еңбек өтілі бойынша қосымша коэффициенттер белгілеу, оқу үдерісінің деңгейін көтеру, инфрақұрылымды басымдықпен дамыту, туристік кластерлерді құру және т.б.)</a:t>
            </a:r>
          </a:p>
          <a:p>
            <a:pPr marL="285750" indent="-285750" algn="just" fontAlgn="ctr">
              <a:buFont typeface="Wingdings" panose="05000000000000000000" pitchFamily="2" charset="2"/>
              <a:buChar char="ü"/>
            </a:pPr>
            <a:endParaRPr lang="kk-KZ" sz="300" i="1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 algn="just" fontAlgn="ctr">
              <a:buFont typeface="Wingdings" panose="05000000000000000000" pitchFamily="2" charset="2"/>
              <a:buChar char="ü"/>
            </a:pPr>
            <a:r>
              <a:rPr lang="kk-KZ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аңа стратегиялық тәсілдер мен бағыттар әзірленуде </a:t>
            </a:r>
            <a:r>
              <a:rPr lang="kk-KZ" sz="900" i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(мемлекеттік қолдау шараларын қолданудың сараланған тәсілі – халықтың кетуі байқалатын, күрделі табиғи-климаттық жағдайлары бар шекаралас аумақтар, кадрлар тапшылығы және т.б.)</a:t>
            </a:r>
            <a:endParaRPr lang="ru-RU" sz="900" i="1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 algn="just" fontAlgn="ctr">
              <a:buFont typeface="Wingdings" panose="05000000000000000000" pitchFamily="2" charset="2"/>
              <a:buChar char="ü"/>
            </a:pPr>
            <a:endParaRPr lang="ru-RU" sz="3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kk-KZ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ауапты орындаушылар мен орындау мерзімдері көрсетілген нақты іс-шаралар тізімі жасалады</a:t>
            </a:r>
            <a:endParaRPr lang="ru-RU" sz="14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kk-KZ" sz="900" i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умен жабдықтау жүйелерін дамыту, тұрғын үймен қамтамасыз ету, жолдарды қайта жаңарту және салу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kk-KZ" sz="900" i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«Ауыл – Ел бесігі» аясында инфрақұрылымды дамыту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kk-KZ" sz="900" i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өткізу </a:t>
            </a:r>
            <a:r>
              <a:rPr lang="kk-KZ" sz="900" i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ункттерінің </a:t>
            </a:r>
            <a:r>
              <a:rPr lang="kk-KZ" sz="900" i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инфрақұрылымын жайластыру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kk-KZ" sz="900" i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екаралас аумақтарда жеке капиталдың қатысуымен инвестициялық жобаларды жүзеге асыру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kk-KZ" sz="900" i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әсіпкерлікті қолдау, оның ішінде ісін жаңа бастаған кәсіпкерлер үшін гранттар бөлу (аграрлық туризм және т.б.)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kk-KZ" sz="900" i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еңбек өтіліне қосымша коэффициенттерді (1,5) және климаттық жағдайлары қиын елді мекендерде электр энергиясына төмендетілген тарифті белгілеу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kk-KZ" sz="900" i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екаралас мемлекеттермен шекаралас сауда орталықтарын дамыту және нығайту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kk-KZ" sz="900" i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ұрынғы шекаралас аумақтардың мәртебесін қалпына келтіру мәселелерін қарастыру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kk-KZ" sz="300" i="1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 algn="just">
              <a:buFont typeface="Wingdings" pitchFamily="2" charset="2"/>
              <a:buChar char="ü"/>
            </a:pPr>
            <a:r>
              <a:rPr lang="kk-KZ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Индикаторлар мен күтілетін нәтижелер бойынша есептеу жүргізіледі</a:t>
            </a:r>
            <a:r>
              <a:rPr lang="kk-KZ" sz="900" dirty="0" smtClean="0"/>
              <a:t> </a:t>
            </a:r>
            <a:r>
              <a:rPr lang="kk-KZ" sz="900" i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(шекаралас ауылдар мен қалаларды ӨСЖ көрсеткіштерімен қамтамасыз ету, интернетті пайдаланушыларүлесінің артуы және т.б.) </a:t>
            </a:r>
          </a:p>
          <a:p>
            <a:pPr marL="171450" indent="-171450" algn="just">
              <a:buFont typeface="Wingdings" pitchFamily="2" charset="2"/>
              <a:buChar char="ü"/>
            </a:pPr>
            <a:endParaRPr lang="kk-KZ" sz="900" i="1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 algn="just"/>
            <a:r>
              <a:rPr lang="kk-KZ" sz="1000" b="1" i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Ескерту: </a:t>
            </a:r>
            <a:r>
              <a:rPr lang="kk-KZ" sz="1000" i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Тұжырымдамаға  қосымшалар  бойынша ҚР </a:t>
            </a:r>
            <a:r>
              <a:rPr lang="kk-KZ" sz="1000" i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Үкіметінің </a:t>
            </a:r>
            <a:r>
              <a:rPr lang="kk-KZ" sz="1000" i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қаулы жобасы әзірленуде, онда шекаралық аумақтарды дамыту бойынша жеке бөлім қарастырылған.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454766" y="997773"/>
            <a:ext cx="8277353" cy="307775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algn="just" fontAlgn="ctr"/>
            <a:r>
              <a:rPr lang="kk-KZ" sz="14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быланатын шаралар:</a:t>
            </a:r>
            <a:endParaRPr lang="kk-KZ" sz="14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8797159" y="4897279"/>
            <a:ext cx="346841" cy="2462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defTabSz="457200">
              <a:defRPr/>
            </a:pPr>
            <a:r>
              <a:rPr lang="kk-KZ" sz="1000" dirty="0">
                <a:solidFill>
                  <a:srgbClr val="000000"/>
                </a:solidFill>
                <a:ea typeface="ＭＳ Ｐゴシック"/>
              </a:rPr>
              <a:t>5</a:t>
            </a:r>
            <a:endParaRPr lang="kk-KZ" sz="1000" dirty="0" smtClean="0">
              <a:solidFill>
                <a:srgbClr val="000000"/>
              </a:solidFill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50241053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Овал 59"/>
          <p:cNvSpPr/>
          <p:nvPr/>
        </p:nvSpPr>
        <p:spPr>
          <a:xfrm>
            <a:off x="4541154" y="2154414"/>
            <a:ext cx="432258" cy="423591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chemeClr val="accent3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7922">
              <a:defRPr/>
            </a:pPr>
            <a:endParaRPr lang="ru-RU" sz="1275" kern="0" dirty="0">
              <a:solidFill>
                <a:prstClr val="white"/>
              </a:solidFill>
              <a:latin typeface="Calibri"/>
              <a:cs typeface="Arial" panose="020B0604020202020204" pitchFamily="34" charset="0"/>
            </a:endParaRPr>
          </a:p>
        </p:txBody>
      </p:sp>
      <p:sp>
        <p:nvSpPr>
          <p:cNvPr id="49" name="Овал 48"/>
          <p:cNvSpPr/>
          <p:nvPr/>
        </p:nvSpPr>
        <p:spPr>
          <a:xfrm>
            <a:off x="4541154" y="2814407"/>
            <a:ext cx="429649" cy="439872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chemeClr val="accent3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7922">
              <a:defRPr/>
            </a:pPr>
            <a:endParaRPr lang="ru-RU" sz="1275" kern="0" dirty="0">
              <a:solidFill>
                <a:prstClr val="white"/>
              </a:solidFill>
              <a:latin typeface="Calibri"/>
              <a:cs typeface="Arial" panose="020B0604020202020204" pitchFamily="34" charset="0"/>
            </a:endParaRPr>
          </a:p>
        </p:txBody>
      </p:sp>
      <p:sp>
        <p:nvSpPr>
          <p:cNvPr id="76" name="Овал 75"/>
          <p:cNvSpPr/>
          <p:nvPr/>
        </p:nvSpPr>
        <p:spPr>
          <a:xfrm>
            <a:off x="4541154" y="1444734"/>
            <a:ext cx="432258" cy="429137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chemeClr val="accent3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7922">
              <a:defRPr/>
            </a:pPr>
            <a:endParaRPr lang="ru-RU" sz="1275" kern="0" dirty="0">
              <a:solidFill>
                <a:prstClr val="white"/>
              </a:solidFill>
              <a:latin typeface="Calibri"/>
              <a:cs typeface="Arial" panose="020B0604020202020204" pitchFamily="34" charset="0"/>
            </a:endParaRPr>
          </a:p>
        </p:txBody>
      </p:sp>
      <p:sp>
        <p:nvSpPr>
          <p:cNvPr id="82" name="Овал 81"/>
          <p:cNvSpPr/>
          <p:nvPr/>
        </p:nvSpPr>
        <p:spPr>
          <a:xfrm>
            <a:off x="4541154" y="3504214"/>
            <a:ext cx="429649" cy="429362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chemeClr val="accent3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7922">
              <a:defRPr/>
            </a:pPr>
            <a:endParaRPr lang="ru-RU" sz="1275" kern="0" dirty="0">
              <a:solidFill>
                <a:prstClr val="white"/>
              </a:solidFill>
              <a:latin typeface="Calibri"/>
              <a:cs typeface="Arial" panose="020B0604020202020204" pitchFamily="34" charset="0"/>
            </a:endParaRPr>
          </a:p>
        </p:txBody>
      </p:sp>
      <p:sp>
        <p:nvSpPr>
          <p:cNvPr id="93" name="Овал 92"/>
          <p:cNvSpPr/>
          <p:nvPr/>
        </p:nvSpPr>
        <p:spPr>
          <a:xfrm>
            <a:off x="187080" y="1986943"/>
            <a:ext cx="543390" cy="506919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chemeClr val="accent3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7922">
              <a:defRPr/>
            </a:pPr>
            <a:endParaRPr lang="ru-RU" sz="1275" kern="0" dirty="0">
              <a:solidFill>
                <a:prstClr val="white"/>
              </a:solidFill>
              <a:latin typeface="Calibri"/>
              <a:cs typeface="Arial" panose="020B0604020202020204" pitchFamily="34" charset="0"/>
            </a:endParaRPr>
          </a:p>
        </p:txBody>
      </p:sp>
      <p:sp>
        <p:nvSpPr>
          <p:cNvPr id="103" name="Овал 102"/>
          <p:cNvSpPr/>
          <p:nvPr/>
        </p:nvSpPr>
        <p:spPr>
          <a:xfrm>
            <a:off x="187079" y="2925153"/>
            <a:ext cx="546489" cy="516757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chemeClr val="accent3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7922">
              <a:defRPr/>
            </a:pPr>
            <a:endParaRPr lang="ru-RU" sz="1275" kern="0" dirty="0">
              <a:solidFill>
                <a:prstClr val="white"/>
              </a:solidFill>
              <a:latin typeface="Calibri"/>
              <a:cs typeface="Arial" panose="020B0604020202020204" pitchFamily="34" charset="0"/>
            </a:endParaRPr>
          </a:p>
        </p:txBody>
      </p:sp>
      <p:pic>
        <p:nvPicPr>
          <p:cNvPr id="191514" name="Рисунок 110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550" y="2027645"/>
            <a:ext cx="375964" cy="3638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1515" name="Рисунок 11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510" y="2998383"/>
            <a:ext cx="392706" cy="3730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7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67742" y="2075638"/>
            <a:ext cx="2007169" cy="40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fontAlgn="ctr">
              <a:spcBef>
                <a:spcPts val="100"/>
              </a:spcBef>
              <a:defRPr/>
            </a:pPr>
            <a:r>
              <a:rPr lang="ru-RU" sz="1600" b="1" kern="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каралас</a:t>
            </a:r>
            <a:r>
              <a:rPr lang="ru-RU" sz="1600" b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ЕМ </a:t>
            </a:r>
            <a:endParaRPr lang="ru-RU" sz="1200" kern="0" dirty="0">
              <a:solidFill>
                <a:srgbClr val="2E2E38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9" name="Rectangle 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127369" y="3028802"/>
            <a:ext cx="1401283" cy="40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fontAlgn="ctr">
              <a:spcBef>
                <a:spcPts val="100"/>
              </a:spcBef>
              <a:defRPr/>
            </a:pPr>
            <a:r>
              <a:rPr lang="ru-RU" sz="1600" b="1" kern="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ба</a:t>
            </a:r>
            <a:r>
              <a:rPr lang="ru-RU" sz="1600" b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600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1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823930" y="2075638"/>
            <a:ext cx="972000" cy="40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defTabSz="514184">
              <a:defRPr/>
            </a:pPr>
            <a:r>
              <a:rPr lang="ru-RU" sz="1800" b="1" kern="0" dirty="0" smtClean="0">
                <a:solidFill>
                  <a:srgbClr val="188CE5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60</a:t>
            </a:r>
            <a:endParaRPr lang="ru-RU" sz="1800" b="1" kern="0" dirty="0">
              <a:solidFill>
                <a:srgbClr val="2E2E38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3" name="Rectangle 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413164" y="3019681"/>
            <a:ext cx="1702240" cy="40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defTabSz="514184">
              <a:defRPr/>
            </a:pPr>
            <a:r>
              <a:rPr lang="ru-RU" sz="1800" b="1" kern="0" dirty="0" smtClean="0">
                <a:solidFill>
                  <a:srgbClr val="188CE5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462</a:t>
            </a:r>
            <a:endParaRPr lang="ru-RU" sz="1800" b="1" kern="0" dirty="0">
              <a:solidFill>
                <a:srgbClr val="188CE5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3" name="Рисунок 82">
            <a:extLst>
              <a:ext uri="{FF2B5EF4-FFF2-40B4-BE49-F238E27FC236}">
                <a16:creationId xmlns:a16="http://schemas.microsoft.com/office/drawing/2014/main" xmlns="" id="{351A3ECF-30FA-4A5D-9346-EEDE15CA452A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5074" y="1481264"/>
            <a:ext cx="345202" cy="345202"/>
          </a:xfrm>
          <a:prstGeom prst="rect">
            <a:avLst/>
          </a:prstGeom>
        </p:spPr>
      </p:pic>
      <p:pic>
        <p:nvPicPr>
          <p:cNvPr id="84" name="Рисунок 83">
            <a:extLst>
              <a:ext uri="{FF2B5EF4-FFF2-40B4-BE49-F238E27FC236}">
                <a16:creationId xmlns:a16="http://schemas.microsoft.com/office/drawing/2014/main" xmlns="" id="{5A8EDC4D-7B2C-4851-A9B7-599A640807AE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2781" y="3576414"/>
            <a:ext cx="314078" cy="293077"/>
          </a:xfrm>
          <a:prstGeom prst="rect">
            <a:avLst/>
          </a:prstGeom>
        </p:spPr>
      </p:pic>
      <p:sp>
        <p:nvSpPr>
          <p:cNvPr id="90" name="Прямоугольник 89"/>
          <p:cNvSpPr/>
          <p:nvPr/>
        </p:nvSpPr>
        <p:spPr>
          <a:xfrm>
            <a:off x="7634480" y="1519894"/>
            <a:ext cx="13564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514184">
              <a:spcBef>
                <a:spcPts val="100"/>
              </a:spcBef>
              <a:defRPr/>
            </a:pPr>
            <a:r>
              <a:rPr lang="ru-RU" sz="1200" b="1" kern="0" dirty="0" smtClean="0">
                <a:solidFill>
                  <a:srgbClr val="188CE5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6 </a:t>
            </a:r>
            <a:r>
              <a:rPr lang="ru-RU" sz="1200" kern="0" dirty="0" err="1" smtClean="0">
                <a:solidFill>
                  <a:srgbClr val="188CE5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ба</a:t>
            </a:r>
            <a:endParaRPr lang="ru-RU" sz="1400" kern="0" dirty="0" smtClean="0">
              <a:solidFill>
                <a:srgbClr val="188CE5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6" name="Прямоугольник 95">
            <a:extLst>
              <a:ext uri="{FF2B5EF4-FFF2-40B4-BE49-F238E27FC236}">
                <a16:creationId xmlns:a16="http://schemas.microsoft.com/office/drawing/2014/main" xmlns="" id="{CE298C5B-5218-4642-994E-8DB612FA561E}"/>
              </a:ext>
            </a:extLst>
          </p:cNvPr>
          <p:cNvSpPr/>
          <p:nvPr/>
        </p:nvSpPr>
        <p:spPr>
          <a:xfrm>
            <a:off x="5177775" y="1384228"/>
            <a:ext cx="2052909" cy="553949"/>
          </a:xfrm>
          <a:prstGeom prst="rect">
            <a:avLst/>
          </a:prstGeom>
        </p:spPr>
        <p:txBody>
          <a:bodyPr wrap="square" lIns="91392" tIns="45696" rIns="91392" bIns="45696">
            <a:spAutoFit/>
          </a:bodyPr>
          <a:lstStyle/>
          <a:p>
            <a:pPr fontAlgn="ctr"/>
            <a:r>
              <a:rPr lang="ru-RU" sz="12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</a:t>
            </a:r>
            <a:r>
              <a:rPr lang="ru-RU" sz="1200" b="1" kern="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женерлік</a:t>
            </a:r>
            <a:r>
              <a:rPr lang="ru-RU" sz="1200" b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kern="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лілер</a:t>
            </a:r>
            <a:r>
              <a:rPr lang="ru-RU" sz="1200" b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kern="0" dirty="0" smtClean="0">
                <a:solidFill>
                  <a:srgbClr val="188CE5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000" b="1" kern="0" dirty="0" smtClean="0">
                <a:solidFill>
                  <a:srgbClr val="188CE5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900" i="1" dirty="0" smtClean="0">
                <a:solidFill>
                  <a:schemeClr val="accent3">
                    <a:lumMod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(</a:t>
            </a:r>
            <a:r>
              <a:rPr lang="ru-RU" sz="900" i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газ, су, </a:t>
            </a:r>
            <a:r>
              <a:rPr lang="ru-RU" sz="900" i="1" dirty="0" err="1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электр</a:t>
            </a:r>
            <a:r>
              <a:rPr lang="ru-RU" sz="900" i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900" i="1" dirty="0" err="1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жылумен</a:t>
            </a:r>
            <a:r>
              <a:rPr lang="ru-RU" sz="900" i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900" i="1" dirty="0" err="1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жабдықтау</a:t>
            </a:r>
            <a:r>
              <a:rPr lang="ru-RU" sz="900" i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</a:p>
        </p:txBody>
      </p:sp>
      <p:sp>
        <p:nvSpPr>
          <p:cNvPr id="128" name="Прямоугольник 127">
            <a:extLst>
              <a:ext uri="{FF2B5EF4-FFF2-40B4-BE49-F238E27FC236}">
                <a16:creationId xmlns:a16="http://schemas.microsoft.com/office/drawing/2014/main" xmlns="" id="{13300179-1714-4040-9B27-3EEA2578C1FC}"/>
              </a:ext>
            </a:extLst>
          </p:cNvPr>
          <p:cNvSpPr/>
          <p:nvPr/>
        </p:nvSpPr>
        <p:spPr>
          <a:xfrm>
            <a:off x="5177775" y="2128227"/>
            <a:ext cx="2138457" cy="569338"/>
          </a:xfrm>
          <a:prstGeom prst="rect">
            <a:avLst/>
          </a:prstGeom>
        </p:spPr>
        <p:txBody>
          <a:bodyPr wrap="square" lIns="91392" tIns="45696" rIns="91392" bIns="45696">
            <a:spAutoFit/>
          </a:bodyPr>
          <a:lstStyle/>
          <a:p>
            <a:pPr fontAlgn="ctr"/>
            <a:r>
              <a:rPr lang="ru-RU" sz="1200" b="1" kern="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лім</a:t>
            </a:r>
            <a:r>
              <a:rPr lang="ru-RU" sz="1200" b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еру </a:t>
            </a:r>
            <a:r>
              <a:rPr lang="ru-RU" sz="1200" b="1" kern="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ысандары</a:t>
            </a:r>
            <a:endParaRPr lang="ru-RU" sz="1200" b="1" kern="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fontAlgn="ctr"/>
            <a:r>
              <a:rPr lang="ru-RU" sz="900" i="1" dirty="0" err="1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(балабақшалар, мектептер</a:t>
            </a:r>
            <a:r>
              <a:rPr lang="ru-RU" sz="900" i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</a:p>
          <a:p>
            <a:pPr fontAlgn="ctr"/>
            <a:r>
              <a:rPr lang="ru-RU" sz="900" i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</p:txBody>
      </p:sp>
      <p:sp>
        <p:nvSpPr>
          <p:cNvPr id="147" name="Прямоугольник 146">
            <a:extLst>
              <a:ext uri="{FF2B5EF4-FFF2-40B4-BE49-F238E27FC236}">
                <a16:creationId xmlns:a16="http://schemas.microsoft.com/office/drawing/2014/main" xmlns="" id="{5C62CEFA-329F-4EF8-93BA-2F8F6F1DB680}"/>
              </a:ext>
            </a:extLst>
          </p:cNvPr>
          <p:cNvSpPr/>
          <p:nvPr/>
        </p:nvSpPr>
        <p:spPr>
          <a:xfrm>
            <a:off x="5137471" y="2745251"/>
            <a:ext cx="2918565" cy="553949"/>
          </a:xfrm>
          <a:prstGeom prst="rect">
            <a:avLst/>
          </a:prstGeom>
        </p:spPr>
        <p:txBody>
          <a:bodyPr wrap="square" lIns="91392" tIns="45696" rIns="91392" bIns="45696">
            <a:spAutoFit/>
          </a:bodyPr>
          <a:lstStyle/>
          <a:p>
            <a:pPr fontAlgn="ctr"/>
            <a:r>
              <a:rPr lang="ru-RU" sz="1200" b="1" kern="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нсаулық сақтау нысандары</a:t>
            </a:r>
            <a:r>
              <a:rPr lang="ru-RU" sz="1200" b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fontAlgn="ctr"/>
            <a:r>
              <a:rPr lang="ru-RU" sz="900" i="1" dirty="0" smtClean="0">
                <a:solidFill>
                  <a:schemeClr val="accent3">
                    <a:lumMod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(</a:t>
            </a:r>
            <a:r>
              <a:rPr lang="ru-RU" sz="900" i="1" dirty="0" err="1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фельдшерлік</a:t>
            </a:r>
            <a:r>
              <a:rPr lang="ru-RU" sz="900" i="1" dirty="0" smtClean="0">
                <a:solidFill>
                  <a:schemeClr val="accent3">
                    <a:lumMod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900" i="1" dirty="0" err="1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пункттер</a:t>
            </a:r>
            <a:r>
              <a:rPr lang="ru-RU" sz="900" i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</a:p>
          <a:p>
            <a:pPr fontAlgn="ctr"/>
            <a:r>
              <a:rPr lang="ru-RU" sz="900" i="1" dirty="0" err="1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амбулаториялар</a:t>
            </a:r>
            <a:r>
              <a:rPr lang="ru-RU" sz="900" i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900" i="1" dirty="0" err="1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емханалар</a:t>
            </a:r>
            <a:r>
              <a:rPr lang="ru-RU" sz="900" i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</a:p>
        </p:txBody>
      </p:sp>
      <p:sp>
        <p:nvSpPr>
          <p:cNvPr id="162" name="Прямоугольник 161"/>
          <p:cNvSpPr/>
          <p:nvPr/>
        </p:nvSpPr>
        <p:spPr>
          <a:xfrm>
            <a:off x="7890960" y="2257894"/>
            <a:ext cx="84350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514184">
              <a:spcBef>
                <a:spcPts val="100"/>
              </a:spcBef>
              <a:defRPr/>
            </a:pPr>
            <a:r>
              <a:rPr lang="ru-RU" sz="1200" b="1" kern="0" dirty="0" smtClean="0">
                <a:solidFill>
                  <a:srgbClr val="188CE5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2 </a:t>
            </a:r>
            <a:r>
              <a:rPr lang="ru-RU" sz="1200" kern="0" dirty="0" err="1" smtClean="0">
                <a:solidFill>
                  <a:srgbClr val="188CE5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ба</a:t>
            </a:r>
            <a:endParaRPr lang="ru-RU" sz="1200" kern="0" dirty="0" smtClean="0">
              <a:solidFill>
                <a:srgbClr val="188CE5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3" name="Прямоугольник 162"/>
          <p:cNvSpPr/>
          <p:nvPr/>
        </p:nvSpPr>
        <p:spPr>
          <a:xfrm>
            <a:off x="7940414" y="2878079"/>
            <a:ext cx="75854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514184">
              <a:spcBef>
                <a:spcPts val="100"/>
              </a:spcBef>
              <a:defRPr/>
            </a:pPr>
            <a:r>
              <a:rPr lang="ru-RU" sz="1200" b="1" kern="0" dirty="0" smtClean="0">
                <a:solidFill>
                  <a:srgbClr val="188CE5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 </a:t>
            </a:r>
            <a:r>
              <a:rPr lang="ru-RU" sz="1200" kern="0" dirty="0" err="1" smtClean="0">
                <a:solidFill>
                  <a:srgbClr val="188CE5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ба</a:t>
            </a:r>
            <a:endParaRPr lang="ru-RU" sz="1200" kern="0" dirty="0" smtClean="0">
              <a:solidFill>
                <a:srgbClr val="188CE5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3" name="Прямоугольник 172">
            <a:extLst>
              <a:ext uri="{FF2B5EF4-FFF2-40B4-BE49-F238E27FC236}">
                <a16:creationId xmlns:a16="http://schemas.microsoft.com/office/drawing/2014/main" xmlns="" id="{3CBF0F42-62CB-4C90-B0F6-24EB54455C47}"/>
              </a:ext>
            </a:extLst>
          </p:cNvPr>
          <p:cNvSpPr/>
          <p:nvPr/>
        </p:nvSpPr>
        <p:spPr>
          <a:xfrm>
            <a:off x="5137471" y="3592541"/>
            <a:ext cx="2499862" cy="276950"/>
          </a:xfrm>
          <a:prstGeom prst="rect">
            <a:avLst/>
          </a:prstGeom>
        </p:spPr>
        <p:txBody>
          <a:bodyPr wrap="square" lIns="91392" tIns="45696" rIns="91392" bIns="45696">
            <a:spAutoFit/>
          </a:bodyPr>
          <a:lstStyle/>
          <a:p>
            <a:pPr fontAlgn="ctr"/>
            <a:r>
              <a:rPr lang="ru-RU" sz="1200" b="1" kern="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уылішілік</a:t>
            </a:r>
            <a:r>
              <a:rPr lang="ru-RU" sz="1200" b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kern="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лдар</a:t>
            </a:r>
            <a:endParaRPr lang="ru-RU" sz="1200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8" name="Straight Connector 32">
            <a:extLst>
              <a:ext uri="{FF2B5EF4-FFF2-40B4-BE49-F238E27FC236}">
                <a16:creationId xmlns:a16="http://schemas.microsoft.com/office/drawing/2014/main" xmlns="" id="{8D60ED13-351E-4258-B3B9-01A5E8377D3E}"/>
              </a:ext>
            </a:extLst>
          </p:cNvPr>
          <p:cNvCxnSpPr/>
          <p:nvPr/>
        </p:nvCxnSpPr>
        <p:spPr>
          <a:xfrm>
            <a:off x="0" y="561499"/>
            <a:ext cx="9144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Прямая соединительная линия 53"/>
          <p:cNvCxnSpPr/>
          <p:nvPr/>
        </p:nvCxnSpPr>
        <p:spPr>
          <a:xfrm flipV="1">
            <a:off x="5219204" y="2674101"/>
            <a:ext cx="3441617" cy="247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Прямая соединительная линия 55"/>
          <p:cNvCxnSpPr/>
          <p:nvPr/>
        </p:nvCxnSpPr>
        <p:spPr>
          <a:xfrm>
            <a:off x="5235187" y="3424512"/>
            <a:ext cx="3463768" cy="16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8845158" y="4883631"/>
            <a:ext cx="242858" cy="2462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kk-KZ" sz="1000" dirty="0">
                <a:latin typeface="Calibri" panose="020F0502020204030204" pitchFamily="34" charset="0"/>
              </a:rPr>
              <a:t>6</a:t>
            </a:r>
            <a:endParaRPr lang="ru-RU" sz="1000" dirty="0">
              <a:latin typeface="Calibri" panose="020F0502020204030204" pitchFamily="34" charset="0"/>
            </a:endParaRPr>
          </a:p>
        </p:txBody>
      </p:sp>
      <p:sp>
        <p:nvSpPr>
          <p:cNvPr id="44" name="Объект 1"/>
          <p:cNvSpPr>
            <a:spLocks noGrp="1"/>
          </p:cNvSpPr>
          <p:nvPr>
            <p:ph sz="quarter" idx="11"/>
          </p:nvPr>
        </p:nvSpPr>
        <p:spPr>
          <a:xfrm>
            <a:off x="187080" y="125687"/>
            <a:ext cx="8769841" cy="435812"/>
          </a:xfrm>
        </p:spPr>
        <p:txBody>
          <a:bodyPr>
            <a:normAutofit/>
          </a:bodyPr>
          <a:lstStyle/>
          <a:p>
            <a:pPr algn="ctr">
              <a:spcBef>
                <a:spcPct val="0"/>
              </a:spcBef>
            </a:pPr>
            <a:r>
              <a:rPr lang="ru-RU" sz="2000" b="1" cap="small" dirty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Шекара </a:t>
            </a:r>
            <a:r>
              <a:rPr lang="ru-RU" sz="2000" b="1" cap="small" dirty="0" err="1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маңы</a:t>
            </a:r>
            <a:r>
              <a:rPr lang="ru-RU" sz="2000" b="1" cap="small" dirty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2000" b="1" cap="small" dirty="0" err="1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аумақтарын</a:t>
            </a:r>
            <a:r>
              <a:rPr lang="ru-RU" sz="2000" b="1" cap="small" dirty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«</a:t>
            </a:r>
            <a:r>
              <a:rPr lang="ru-RU" sz="2000" b="1" cap="small" dirty="0" err="1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Ауыл</a:t>
            </a:r>
            <a:r>
              <a:rPr lang="ru-RU" sz="2000" b="1" cap="small" dirty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– Ел </a:t>
            </a:r>
            <a:r>
              <a:rPr lang="ru-RU" sz="2000" b="1" cap="small" dirty="0" err="1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бесігі</a:t>
            </a:r>
            <a:r>
              <a:rPr lang="ru-RU" sz="2000" b="1" cap="small" dirty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»  </a:t>
            </a:r>
            <a:r>
              <a:rPr lang="ru-RU" sz="2000" b="1" cap="small" dirty="0" err="1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ше</a:t>
            </a:r>
            <a:r>
              <a:rPr lang="kk-KZ" sz="2000" b="1" cap="small" dirty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ңберінде </a:t>
            </a:r>
            <a:r>
              <a:rPr lang="ru-RU" sz="2000" b="1" cap="small" dirty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дамыту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730470" y="1366427"/>
            <a:ext cx="279916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>
                <a:latin typeface="Arial" panose="020B0604020202020204" pitchFamily="34" charset="0"/>
                <a:cs typeface="Arial" panose="020B0604020202020204" pitchFamily="34" charset="0"/>
              </a:rPr>
              <a:t>2019-2022 </a:t>
            </a:r>
            <a:r>
              <a:rPr lang="ru-RU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жылдары</a:t>
            </a:r>
            <a:r>
              <a:rPr lang="ru-RU" sz="2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800" b="1" dirty="0"/>
          </a:p>
        </p:txBody>
      </p:sp>
      <p:cxnSp>
        <p:nvCxnSpPr>
          <p:cNvPr id="45" name="Straight Connector 4">
            <a:extLst>
              <a:ext uri="{FF2B5EF4-FFF2-40B4-BE49-F238E27FC236}">
                <a16:creationId xmlns:a16="http://schemas.microsoft.com/office/drawing/2014/main" xmlns="" id="{50ADAB49-8A88-402F-924A-5E7EC1CB825A}"/>
              </a:ext>
            </a:extLst>
          </p:cNvPr>
          <p:cNvCxnSpPr>
            <a:cxnSpLocks/>
          </p:cNvCxnSpPr>
          <p:nvPr/>
        </p:nvCxnSpPr>
        <p:spPr>
          <a:xfrm>
            <a:off x="832833" y="2670974"/>
            <a:ext cx="2402211" cy="0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>
          <a:xfrm>
            <a:off x="223903" y="514785"/>
            <a:ext cx="861470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spc="-100" dirty="0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Республика </a:t>
            </a:r>
            <a:r>
              <a:rPr lang="ru-RU" sz="1600" b="1" spc="-100" dirty="0" err="1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бойынша</a:t>
            </a:r>
            <a:r>
              <a:rPr lang="ru-RU" sz="1600" b="1" spc="-100" dirty="0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 даму </a:t>
            </a:r>
            <a:r>
              <a:rPr lang="ru-RU" sz="1600" b="1" spc="-100" dirty="0" err="1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әлеуеті</a:t>
            </a:r>
            <a:r>
              <a:rPr lang="ru-RU" sz="1600" b="1" spc="-100" dirty="0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 бар </a:t>
            </a:r>
            <a:r>
              <a:rPr lang="ru-RU" sz="2400" b="1" spc="-100" dirty="0">
                <a:solidFill>
                  <a:srgbClr val="00B05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3,5</a:t>
            </a:r>
            <a:r>
              <a:rPr lang="ru-RU" sz="15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spc="-100" dirty="0" err="1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мың</a:t>
            </a:r>
            <a:r>
              <a:rPr lang="ru-RU" sz="1600" b="1" spc="-100" dirty="0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 АЕМ, </a:t>
            </a:r>
            <a:r>
              <a:rPr lang="ru-RU" sz="1600" b="1" spc="-100" dirty="0" err="1" smtClean="0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оның</a:t>
            </a:r>
            <a:r>
              <a:rPr lang="ru-RU" sz="1600" b="1" spc="-100" dirty="0" smtClean="0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 </a:t>
            </a:r>
            <a:r>
              <a:rPr lang="ru-RU" sz="1600" b="1" spc="-100" dirty="0" err="1" smtClean="0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ішінде</a:t>
            </a:r>
            <a:r>
              <a:rPr lang="ru-RU" sz="1600" b="1" spc="-100" dirty="0" smtClean="0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 </a:t>
            </a:r>
            <a:r>
              <a:rPr lang="ru-RU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b="1" spc="-100" dirty="0">
                <a:solidFill>
                  <a:srgbClr val="00B05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915</a:t>
            </a:r>
            <a:r>
              <a:rPr lang="ru-RU" sz="15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spc="-100" dirty="0" err="1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шекара</a:t>
            </a:r>
            <a:r>
              <a:rPr lang="ru-RU" sz="1600" b="1" spc="-100" dirty="0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 </a:t>
            </a:r>
            <a:r>
              <a:rPr lang="ru-RU" sz="1600" b="1" spc="-100" dirty="0" err="1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маңындағы</a:t>
            </a:r>
            <a:r>
              <a:rPr lang="ru-RU" sz="1600" b="1" spc="-100" dirty="0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 </a:t>
            </a:r>
            <a:r>
              <a:rPr lang="ru-RU" sz="1600" b="1" spc="-100" dirty="0" err="1" smtClean="0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ауылдар</a:t>
            </a:r>
            <a:r>
              <a:rPr lang="ru-RU" sz="1600" b="1" spc="-100" dirty="0" smtClean="0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 </a:t>
            </a:r>
            <a:r>
              <a:rPr lang="ru-RU" sz="1600" b="1" spc="-100" dirty="0" err="1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іріктелді</a:t>
            </a:r>
            <a:r>
              <a:rPr lang="ru-RU" sz="1600" b="1" spc="-100" dirty="0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 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7816373" y="3608622"/>
            <a:ext cx="97174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514184">
              <a:spcBef>
                <a:spcPts val="100"/>
              </a:spcBef>
              <a:defRPr/>
            </a:pPr>
            <a:r>
              <a:rPr lang="ru-RU" sz="1200" b="1" kern="0" dirty="0" smtClean="0">
                <a:solidFill>
                  <a:srgbClr val="188CE5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064 </a:t>
            </a:r>
            <a:r>
              <a:rPr lang="ru-RU" sz="1200" kern="0" dirty="0" err="1" smtClean="0">
                <a:solidFill>
                  <a:srgbClr val="188CE5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ба</a:t>
            </a:r>
            <a:endParaRPr lang="ru-RU" sz="1200" kern="0" dirty="0" smtClean="0">
              <a:solidFill>
                <a:srgbClr val="188CE5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1" name="Прямая соединительная линия 50"/>
          <p:cNvCxnSpPr/>
          <p:nvPr/>
        </p:nvCxnSpPr>
        <p:spPr>
          <a:xfrm flipV="1">
            <a:off x="5177775" y="1986943"/>
            <a:ext cx="3441617" cy="247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3" name="object 26"/>
          <p:cNvGrpSpPr/>
          <p:nvPr/>
        </p:nvGrpSpPr>
        <p:grpSpPr>
          <a:xfrm>
            <a:off x="4353548" y="4575573"/>
            <a:ext cx="266873" cy="283278"/>
            <a:chOff x="2493264" y="2305811"/>
            <a:chExt cx="289560" cy="637540"/>
          </a:xfrm>
        </p:grpSpPr>
        <p:sp>
          <p:nvSpPr>
            <p:cNvPr id="55" name="object 27"/>
            <p:cNvSpPr/>
            <p:nvPr/>
          </p:nvSpPr>
          <p:spPr>
            <a:xfrm>
              <a:off x="2497836" y="2310383"/>
              <a:ext cx="181610" cy="628015"/>
            </a:xfrm>
            <a:custGeom>
              <a:avLst/>
              <a:gdLst/>
              <a:ahLst/>
              <a:cxnLst/>
              <a:rect l="l" t="t" r="r" b="b"/>
              <a:pathLst>
                <a:path w="181610" h="628014">
                  <a:moveTo>
                    <a:pt x="0" y="0"/>
                  </a:moveTo>
                  <a:lnTo>
                    <a:pt x="181356" y="313944"/>
                  </a:lnTo>
                  <a:lnTo>
                    <a:pt x="0" y="627888"/>
                  </a:lnTo>
                </a:path>
              </a:pathLst>
            </a:custGeom>
            <a:ln w="9144">
              <a:solidFill>
                <a:srgbClr val="85C7FF"/>
              </a:solidFill>
            </a:ln>
          </p:spPr>
          <p:txBody>
            <a:bodyPr wrap="square" lIns="0" tIns="0" rIns="0" bIns="0" rtlCol="0"/>
            <a:lstStyle/>
            <a:p>
              <a:pPr defTabSz="91393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7" name="object 28"/>
            <p:cNvSpPr/>
            <p:nvPr/>
          </p:nvSpPr>
          <p:spPr>
            <a:xfrm>
              <a:off x="2598420" y="2310383"/>
              <a:ext cx="180340" cy="628015"/>
            </a:xfrm>
            <a:custGeom>
              <a:avLst/>
              <a:gdLst/>
              <a:ahLst/>
              <a:cxnLst/>
              <a:rect l="l" t="t" r="r" b="b"/>
              <a:pathLst>
                <a:path w="180339" h="628014">
                  <a:moveTo>
                    <a:pt x="0" y="0"/>
                  </a:moveTo>
                  <a:lnTo>
                    <a:pt x="179831" y="313944"/>
                  </a:lnTo>
                  <a:lnTo>
                    <a:pt x="0" y="627888"/>
                  </a:lnTo>
                </a:path>
              </a:pathLst>
            </a:custGeom>
            <a:ln w="9144">
              <a:solidFill>
                <a:srgbClr val="006FCE"/>
              </a:solidFill>
            </a:ln>
          </p:spPr>
          <p:txBody>
            <a:bodyPr wrap="square" lIns="0" tIns="0" rIns="0" bIns="0" rtlCol="0"/>
            <a:lstStyle/>
            <a:p>
              <a:pPr defTabSz="91393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sz="1800" kern="0">
                <a:solidFill>
                  <a:sysClr val="windowText" lastClr="000000"/>
                </a:solidFill>
              </a:endParaRPr>
            </a:p>
          </p:txBody>
        </p:sp>
      </p:grpSp>
      <p:cxnSp>
        <p:nvCxnSpPr>
          <p:cNvPr id="58" name="Straight Connector 4">
            <a:extLst>
              <a:ext uri="{FF2B5EF4-FFF2-40B4-BE49-F238E27FC236}">
                <a16:creationId xmlns:a16="http://schemas.microsoft.com/office/drawing/2014/main" xmlns="" id="{50ADAB49-8A88-402F-924A-5E7EC1CB825A}"/>
              </a:ext>
            </a:extLst>
          </p:cNvPr>
          <p:cNvCxnSpPr>
            <a:cxnSpLocks/>
          </p:cNvCxnSpPr>
          <p:nvPr/>
        </p:nvCxnSpPr>
        <p:spPr>
          <a:xfrm>
            <a:off x="187080" y="1277061"/>
            <a:ext cx="8658078" cy="0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9" name="Рисунок 58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592781" y="2850512"/>
            <a:ext cx="337495" cy="337362"/>
          </a:xfrm>
          <a:prstGeom prst="rect">
            <a:avLst/>
          </a:prstGeom>
        </p:spPr>
      </p:pic>
      <p:pic>
        <p:nvPicPr>
          <p:cNvPr id="61" name="Рисунок 60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590637" y="2154414"/>
            <a:ext cx="344552" cy="344461"/>
          </a:xfrm>
          <a:prstGeom prst="rect">
            <a:avLst/>
          </a:prstGeom>
        </p:spPr>
      </p:pic>
      <p:sp>
        <p:nvSpPr>
          <p:cNvPr id="39" name="Прямоугольник 38"/>
          <p:cNvSpPr/>
          <p:nvPr/>
        </p:nvSpPr>
        <p:spPr>
          <a:xfrm>
            <a:off x="3672975" y="4025527"/>
            <a:ext cx="15568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1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023</a:t>
            </a:r>
            <a:r>
              <a:rPr lang="ru-RU" sz="1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8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жыл</a:t>
            </a:r>
            <a:r>
              <a:rPr lang="kk-KZ" sz="1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ға</a:t>
            </a:r>
            <a:r>
              <a:rPr lang="ru-RU" sz="1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600" b="1" dirty="0"/>
          </a:p>
        </p:txBody>
      </p:sp>
      <p:sp>
        <p:nvSpPr>
          <p:cNvPr id="40" name="Овал 39"/>
          <p:cNvSpPr/>
          <p:nvPr/>
        </p:nvSpPr>
        <p:spPr>
          <a:xfrm>
            <a:off x="903979" y="4462589"/>
            <a:ext cx="543390" cy="506919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chemeClr val="accent3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7922">
              <a:defRPr/>
            </a:pPr>
            <a:endParaRPr lang="ru-RU" sz="1275" kern="0" dirty="0">
              <a:solidFill>
                <a:prstClr val="white"/>
              </a:solidFill>
              <a:latin typeface="Calibri"/>
              <a:cs typeface="Arial" panose="020B0604020202020204" pitchFamily="34" charset="0"/>
            </a:endParaRPr>
          </a:p>
        </p:txBody>
      </p:sp>
      <p:sp>
        <p:nvSpPr>
          <p:cNvPr id="41" name="Овал 40"/>
          <p:cNvSpPr/>
          <p:nvPr/>
        </p:nvSpPr>
        <p:spPr>
          <a:xfrm>
            <a:off x="5069049" y="4468274"/>
            <a:ext cx="546489" cy="516757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chemeClr val="accent3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7922">
              <a:defRPr/>
            </a:pPr>
            <a:endParaRPr lang="ru-RU" sz="1275" kern="0" dirty="0">
              <a:solidFill>
                <a:prstClr val="white"/>
              </a:solidFill>
              <a:latin typeface="Calibri"/>
              <a:cs typeface="Arial" panose="020B0604020202020204" pitchFamily="34" charset="0"/>
            </a:endParaRPr>
          </a:p>
        </p:txBody>
      </p:sp>
      <p:pic>
        <p:nvPicPr>
          <p:cNvPr id="42" name="Рисунок 110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449" y="4503291"/>
            <a:ext cx="375964" cy="3638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" name="Рисунок 11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21480" y="4541504"/>
            <a:ext cx="392706" cy="3730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7" name="Rectangle 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454606" y="4551284"/>
            <a:ext cx="2007169" cy="40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fontAlgn="ctr">
              <a:spcBef>
                <a:spcPts val="100"/>
              </a:spcBef>
              <a:defRPr/>
            </a:pPr>
            <a:r>
              <a:rPr lang="ru-RU" sz="1600" b="1" kern="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каралас</a:t>
            </a:r>
            <a:r>
              <a:rPr lang="ru-RU" sz="1600" b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ЕМ </a:t>
            </a:r>
            <a:endParaRPr lang="ru-RU" sz="1200" kern="0" dirty="0">
              <a:solidFill>
                <a:srgbClr val="2E2E38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Rectangle 3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645190" y="4571200"/>
            <a:ext cx="1401283" cy="40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fontAlgn="ctr">
              <a:spcBef>
                <a:spcPts val="100"/>
              </a:spcBef>
              <a:defRPr/>
            </a:pPr>
            <a:r>
              <a:rPr lang="ru-RU" sz="1600" b="1" kern="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ба</a:t>
            </a:r>
            <a:r>
              <a:rPr lang="ru-RU" sz="1600" b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600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Rectangle 3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288607" y="4540040"/>
            <a:ext cx="972000" cy="40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defTabSz="514184">
              <a:defRPr/>
            </a:pPr>
            <a:r>
              <a:rPr lang="kk-KZ" sz="1800" b="1" kern="0" dirty="0" smtClean="0">
                <a:solidFill>
                  <a:srgbClr val="188CE5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4</a:t>
            </a:r>
            <a:endParaRPr lang="ru-RU" sz="1800" b="1" kern="0" dirty="0">
              <a:solidFill>
                <a:srgbClr val="2E2E38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Rectangle 3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415214" y="4540673"/>
            <a:ext cx="1702240" cy="40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defTabSz="514184">
              <a:defRPr/>
            </a:pPr>
            <a:r>
              <a:rPr lang="kk-KZ" sz="1800" b="1" kern="0" dirty="0" smtClean="0">
                <a:solidFill>
                  <a:srgbClr val="188CE5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93</a:t>
            </a:r>
            <a:endParaRPr lang="ru-RU" sz="1800" b="1" kern="0" dirty="0">
              <a:solidFill>
                <a:srgbClr val="188CE5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5" name="Прямая соединительная линия 64"/>
          <p:cNvCxnSpPr/>
          <p:nvPr/>
        </p:nvCxnSpPr>
        <p:spPr>
          <a:xfrm>
            <a:off x="239510" y="3992269"/>
            <a:ext cx="8494950" cy="1602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6" name="object 26"/>
          <p:cNvGrpSpPr/>
          <p:nvPr/>
        </p:nvGrpSpPr>
        <p:grpSpPr>
          <a:xfrm>
            <a:off x="3817510" y="2298293"/>
            <a:ext cx="485937" cy="1152572"/>
            <a:chOff x="2493264" y="2305811"/>
            <a:chExt cx="289560" cy="637540"/>
          </a:xfrm>
        </p:grpSpPr>
        <p:sp>
          <p:nvSpPr>
            <p:cNvPr id="67" name="object 27"/>
            <p:cNvSpPr/>
            <p:nvPr/>
          </p:nvSpPr>
          <p:spPr>
            <a:xfrm>
              <a:off x="2497836" y="2310383"/>
              <a:ext cx="181610" cy="628015"/>
            </a:xfrm>
            <a:custGeom>
              <a:avLst/>
              <a:gdLst/>
              <a:ahLst/>
              <a:cxnLst/>
              <a:rect l="l" t="t" r="r" b="b"/>
              <a:pathLst>
                <a:path w="181610" h="628014">
                  <a:moveTo>
                    <a:pt x="0" y="0"/>
                  </a:moveTo>
                  <a:lnTo>
                    <a:pt x="181356" y="313944"/>
                  </a:lnTo>
                  <a:lnTo>
                    <a:pt x="0" y="627888"/>
                  </a:lnTo>
                </a:path>
              </a:pathLst>
            </a:custGeom>
            <a:ln w="9144">
              <a:solidFill>
                <a:srgbClr val="85C7FF"/>
              </a:solidFill>
            </a:ln>
          </p:spPr>
          <p:txBody>
            <a:bodyPr wrap="square" lIns="0" tIns="0" rIns="0" bIns="0" rtlCol="0"/>
            <a:lstStyle/>
            <a:p>
              <a:pPr defTabSz="91393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8" name="object 28"/>
            <p:cNvSpPr/>
            <p:nvPr/>
          </p:nvSpPr>
          <p:spPr>
            <a:xfrm>
              <a:off x="2598420" y="2310383"/>
              <a:ext cx="180340" cy="628015"/>
            </a:xfrm>
            <a:custGeom>
              <a:avLst/>
              <a:gdLst/>
              <a:ahLst/>
              <a:cxnLst/>
              <a:rect l="l" t="t" r="r" b="b"/>
              <a:pathLst>
                <a:path w="180339" h="628014">
                  <a:moveTo>
                    <a:pt x="0" y="0"/>
                  </a:moveTo>
                  <a:lnTo>
                    <a:pt x="179831" y="313944"/>
                  </a:lnTo>
                  <a:lnTo>
                    <a:pt x="0" y="627888"/>
                  </a:lnTo>
                </a:path>
              </a:pathLst>
            </a:custGeom>
            <a:ln w="9144">
              <a:solidFill>
                <a:srgbClr val="006FCE"/>
              </a:solidFill>
            </a:ln>
          </p:spPr>
          <p:txBody>
            <a:bodyPr wrap="square" lIns="0" tIns="0" rIns="0" bIns="0" rtlCol="0"/>
            <a:lstStyle/>
            <a:p>
              <a:pPr defTabSz="91393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sz="1800" kern="0">
                <a:solidFill>
                  <a:sysClr val="windowText" lastClr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76824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394" y="1345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3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AutoShape 5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394" y="1345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1143204" y="153"/>
            <a:ext cx="119056" cy="119056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10">
              <a:defRPr/>
            </a:pPr>
            <a:endParaRPr lang="en-GB" sz="1125" dirty="0" err="1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" name="Freeform 108"/>
          <p:cNvSpPr>
            <a:spLocks/>
          </p:cNvSpPr>
          <p:nvPr/>
        </p:nvSpPr>
        <p:spPr>
          <a:xfrm>
            <a:off x="2024680" y="955389"/>
            <a:ext cx="7304194" cy="1025676"/>
          </a:xfrm>
          <a:custGeom>
            <a:avLst/>
            <a:gdLst>
              <a:gd name="connsiteX0" fmla="*/ 0 w 5648675"/>
              <a:gd name="connsiteY0" fmla="*/ 0 h 4878621"/>
              <a:gd name="connsiteX1" fmla="*/ 5285267 w 5648675"/>
              <a:gd name="connsiteY1" fmla="*/ 0 h 4878621"/>
              <a:gd name="connsiteX2" fmla="*/ 5648675 w 5648675"/>
              <a:gd name="connsiteY2" fmla="*/ 363408 h 4878621"/>
              <a:gd name="connsiteX3" fmla="*/ 5648675 w 5648675"/>
              <a:gd name="connsiteY3" fmla="*/ 4515213 h 4878621"/>
              <a:gd name="connsiteX4" fmla="*/ 5285267 w 5648675"/>
              <a:gd name="connsiteY4" fmla="*/ 4878621 h 4878621"/>
              <a:gd name="connsiteX5" fmla="*/ 0 w 5648675"/>
              <a:gd name="connsiteY5" fmla="*/ 4878621 h 48786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48675" h="4878621">
                <a:moveTo>
                  <a:pt x="0" y="0"/>
                </a:moveTo>
                <a:lnTo>
                  <a:pt x="5285267" y="0"/>
                </a:lnTo>
                <a:cubicBezTo>
                  <a:pt x="5485972" y="0"/>
                  <a:pt x="5648675" y="162703"/>
                  <a:pt x="5648675" y="363408"/>
                </a:cubicBezTo>
                <a:lnTo>
                  <a:pt x="5648675" y="4515213"/>
                </a:lnTo>
                <a:cubicBezTo>
                  <a:pt x="5648675" y="4715918"/>
                  <a:pt x="5485972" y="4878621"/>
                  <a:pt x="5285267" y="4878621"/>
                </a:cubicBezTo>
                <a:lnTo>
                  <a:pt x="0" y="4878621"/>
                </a:lnTo>
                <a:close/>
              </a:path>
            </a:pathLst>
          </a:custGeom>
          <a:noFill/>
          <a:ln w="19050" cap="flat" cmpd="sng" algn="ctr">
            <a:noFill/>
            <a:prstDash val="solid"/>
          </a:ln>
          <a:effectLst/>
        </p:spPr>
        <p:txBody>
          <a:bodyPr wrap="square" lIns="91434" tIns="45717" rIns="91434" bIns="45717" rtlCol="0" anchor="ctr">
            <a:noAutofit/>
          </a:bodyPr>
          <a:lstStyle/>
          <a:p>
            <a:pPr algn="ctr" defTabSz="914333">
              <a:defRPr/>
            </a:pPr>
            <a:endParaRPr lang="ru-RU" sz="1350" b="1" dirty="0" err="1">
              <a:solidFill>
                <a:srgbClr val="000000"/>
              </a:solidFill>
              <a:latin typeface="Segoe UI Light"/>
              <a:ea typeface="ＭＳ Ｐゴシック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27901" y="3760"/>
            <a:ext cx="8329942" cy="623246"/>
          </a:xfrm>
          <a:prstGeom prst="rect">
            <a:avLst/>
          </a:prstGeom>
          <a:noFill/>
        </p:spPr>
        <p:txBody>
          <a:bodyPr wrap="square" lIns="68577" tIns="34289" rIns="68577" bIns="34289" rtlCol="0" anchor="ctr">
            <a:spAutoFit/>
          </a:bodyPr>
          <a:lstStyle/>
          <a:p>
            <a:pPr algn="ctr" defTabSz="681124"/>
            <a:r>
              <a:rPr lang="ru-RU" sz="1800" b="1" cap="small" dirty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2022 </a:t>
            </a:r>
            <a:r>
              <a:rPr lang="ru-RU" sz="1800" b="1" cap="small" dirty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- 2025 </a:t>
            </a:r>
            <a:r>
              <a:rPr lang="ru-RU" sz="1800" b="1" cap="small" dirty="0" err="1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жылдарға</a:t>
            </a:r>
            <a:r>
              <a:rPr lang="ru-RU" sz="1800" b="1" cap="small" dirty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800" b="1" cap="small" dirty="0" err="1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арналған</a:t>
            </a:r>
            <a:r>
              <a:rPr lang="ru-RU" sz="1800" b="1" cap="small" dirty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endParaRPr lang="ru-RU" sz="1800" b="1" cap="small" dirty="0">
              <a:solidFill>
                <a:srgbClr val="0070C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  <a:p>
            <a:pPr algn="ctr" defTabSz="681124"/>
            <a:r>
              <a:rPr lang="ru-RU" sz="1800" b="1" cap="small" dirty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Шекара </a:t>
            </a:r>
            <a:r>
              <a:rPr lang="ru-RU" sz="1800" b="1" cap="small" dirty="0" err="1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маңындағы</a:t>
            </a:r>
            <a:r>
              <a:rPr lang="ru-RU" sz="1800" b="1" cap="small" dirty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800" b="1" cap="small" dirty="0" err="1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аумақтарды</a:t>
            </a:r>
            <a:r>
              <a:rPr lang="ru-RU" sz="1800" b="1" cap="small" dirty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дамыту </a:t>
            </a:r>
            <a:r>
              <a:rPr lang="ru-RU" sz="1800" b="1" cap="small" dirty="0" err="1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800" b="1" cap="small" dirty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800" b="1" cap="small" dirty="0" err="1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Жол</a:t>
            </a:r>
            <a:r>
              <a:rPr lang="ru-RU" sz="1800" b="1" cap="small" dirty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800" b="1" cap="small" dirty="0" err="1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картасы</a:t>
            </a:r>
            <a:endParaRPr lang="ru-RU" sz="1800" b="1" cap="small" dirty="0">
              <a:solidFill>
                <a:srgbClr val="0070C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41" name="Straight Connector 32">
            <a:extLst>
              <a:ext uri="{FF2B5EF4-FFF2-40B4-BE49-F238E27FC236}">
                <a16:creationId xmlns="" xmlns:a16="http://schemas.microsoft.com/office/drawing/2014/main" id="{6C0B85D7-80A1-4B3A-96B4-E30488937587}"/>
              </a:ext>
            </a:extLst>
          </p:cNvPr>
          <p:cNvCxnSpPr/>
          <p:nvPr/>
        </p:nvCxnSpPr>
        <p:spPr>
          <a:xfrm>
            <a:off x="0" y="612039"/>
            <a:ext cx="9144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8849347" y="4686265"/>
            <a:ext cx="346841" cy="2462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k-KZ" sz="1000" dirty="0">
                <a:solidFill>
                  <a:srgbClr val="000000"/>
                </a:solidFill>
                <a:latin typeface="Calibri" panose="020F0502020204030204" pitchFamily="34" charset="0"/>
                <a:ea typeface="ＭＳ Ｐゴシック"/>
              </a:rPr>
              <a:t>7</a:t>
            </a:r>
            <a:endParaRPr lang="en-US" sz="1000" dirty="0" smtClean="0">
              <a:solidFill>
                <a:srgbClr val="000000"/>
              </a:solidFill>
              <a:latin typeface="Calibri" panose="020F0502020204030204" pitchFamily="34" charset="0"/>
              <a:ea typeface="ＭＳ Ｐゴシック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="" xmlns:a16="http://schemas.microsoft.com/office/drawing/2014/main" id="{4078A880-8C11-4663-888F-F5EAD99275BB}"/>
              </a:ext>
            </a:extLst>
          </p:cNvPr>
          <p:cNvSpPr txBox="1">
            <a:spLocks/>
          </p:cNvSpPr>
          <p:nvPr/>
        </p:nvSpPr>
        <p:spPr>
          <a:xfrm>
            <a:off x="2771192" y="1115338"/>
            <a:ext cx="3452326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sz="1071" baseline="0">
                <a:latin typeface="+mn-lt"/>
              </a:defRPr>
            </a:lvl1pPr>
            <a:lvl2pPr marL="148200" lvl="1" indent="-146986" defTabSz="685122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sz="1071" baseline="0">
                <a:latin typeface="+mn-lt"/>
              </a:defRPr>
            </a:lvl2pPr>
            <a:lvl3pPr marL="349849" lvl="2" indent="-200435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071" baseline="0">
                <a:latin typeface="+mn-lt"/>
              </a:defRPr>
            </a:lvl3pPr>
            <a:lvl4pPr marL="470111" lvl="3" indent="-119046" defTabSz="68512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sz="1071" baseline="0">
                <a:latin typeface="+mn-lt"/>
              </a:defRPr>
            </a:lvl4pPr>
            <a:lvl5pPr marL="573753" lvl="4" indent="-9961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071" baseline="0">
                <a:latin typeface="+mn-lt"/>
              </a:defRPr>
            </a:lvl5pPr>
            <a:lvl6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6pPr>
            <a:lvl7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7pPr>
            <a:lvl8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8pPr>
            <a:lvl9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9pPr>
          </a:lstStyle>
          <a:p>
            <a:pPr marL="0" lvl="1" indent="0" algn="ctr" defTabSz="895261">
              <a:spcAft>
                <a:spcPts val="600"/>
              </a:spcAft>
              <a:buClr>
                <a:srgbClr val="002960"/>
              </a:buClr>
              <a:buSzTx/>
              <a:buNone/>
              <a:defRPr/>
            </a:pPr>
            <a:r>
              <a:rPr lang="kk-KZ" sz="1800" b="1" cap="small" dirty="0" smtClean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Жол картасының бағыттары</a:t>
            </a:r>
            <a:endParaRPr lang="ru-RU" sz="1425" b="1" cap="small" dirty="0">
              <a:solidFill>
                <a:srgbClr val="0070C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914185" y="2238659"/>
            <a:ext cx="367138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k-KZ" sz="16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Ә</a:t>
            </a:r>
            <a:r>
              <a:rPr lang="kk-KZ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леуметтік </a:t>
            </a:r>
            <a:r>
              <a:rPr lang="kk-KZ" sz="16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әне инженерлік инфрақұрылымды дамыту</a:t>
            </a:r>
            <a:endParaRPr lang="ru-RU" sz="16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914185" y="3686516"/>
            <a:ext cx="367138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k-KZ" sz="16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</a:t>
            </a:r>
            <a:r>
              <a:rPr lang="kk-KZ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ғын </a:t>
            </a:r>
            <a:r>
              <a:rPr lang="kk-KZ" sz="16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әне орта бизнес субъектілерін </a:t>
            </a:r>
            <a:r>
              <a:rPr lang="kk-KZ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олдау</a:t>
            </a:r>
            <a:endParaRPr lang="ru-RU" sz="16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920129" y="2983392"/>
            <a:ext cx="2690288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k-KZ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Әлеуметтік көмек көрсету </a:t>
            </a:r>
          </a:p>
          <a:p>
            <a:r>
              <a:rPr lang="kk-KZ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араларын дамыту</a:t>
            </a:r>
            <a:endParaRPr lang="ru-RU" sz="16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5274655" y="2738572"/>
            <a:ext cx="266329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k-KZ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уристтік әлеуетті дамыту</a:t>
            </a:r>
            <a:endParaRPr lang="ru-RU" sz="16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5274655" y="3308893"/>
            <a:ext cx="368440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k-KZ" sz="16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екара маңындағы </a:t>
            </a:r>
            <a:r>
              <a:rPr lang="kk-KZ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удандарды төтенше жағдайлардан қорғау және қаупсіздікті қамтамасыз ету</a:t>
            </a:r>
            <a:endParaRPr lang="ru-RU" sz="16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5274655" y="1526605"/>
            <a:ext cx="349301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k-KZ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екара маңындағы аудандар арқыла экспорттық және импорттық тауарлар өтүу үшін жағдайлар жасау</a:t>
            </a:r>
            <a:endParaRPr lang="kk-KZ" sz="16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6" name="Picture 79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2763" y="2649078"/>
            <a:ext cx="524397" cy="5082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" name="Рисунок 37"/>
          <p:cNvPicPr>
            <a:picLocks noChangeAspect="1"/>
          </p:cNvPicPr>
          <p:nvPr/>
        </p:nvPicPr>
        <p:blipFill>
          <a:blip r:embed="rId8" cstate="print">
            <a:grayscl/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2872" y="3465311"/>
            <a:ext cx="514288" cy="4606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2" descr="C:\Users\a.khamitzhan\Downloads\businessman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101" y="3000773"/>
            <a:ext cx="462319" cy="4859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object 25"/>
          <p:cNvSpPr/>
          <p:nvPr/>
        </p:nvSpPr>
        <p:spPr>
          <a:xfrm>
            <a:off x="4157264" y="1737626"/>
            <a:ext cx="45719" cy="2322004"/>
          </a:xfrm>
          <a:custGeom>
            <a:avLst/>
            <a:gdLst/>
            <a:ahLst/>
            <a:cxnLst/>
            <a:rect l="l" t="t" r="r" b="b"/>
            <a:pathLst>
              <a:path h="1647825">
                <a:moveTo>
                  <a:pt x="0" y="0"/>
                </a:moveTo>
                <a:lnTo>
                  <a:pt x="0" y="1647443"/>
                </a:lnTo>
              </a:path>
            </a:pathLst>
          </a:custGeom>
          <a:ln w="6096">
            <a:solidFill>
              <a:srgbClr val="808080"/>
            </a:solidFill>
          </a:ln>
        </p:spPr>
        <p:txBody>
          <a:bodyPr wrap="square" lIns="0" tIns="0" rIns="0" bIns="0" rtlCol="0"/>
          <a:lstStyle/>
          <a:p>
            <a:pPr defTabSz="91393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sz="1800" kern="0">
              <a:solidFill>
                <a:sysClr val="windowText" lastClr="000000"/>
              </a:solidFill>
            </a:endParaRPr>
          </a:p>
        </p:txBody>
      </p:sp>
      <p:cxnSp>
        <p:nvCxnSpPr>
          <p:cNvPr id="34" name="Straight Connector 4">
            <a:extLst>
              <a:ext uri="{FF2B5EF4-FFF2-40B4-BE49-F238E27FC236}">
                <a16:creationId xmlns:a16="http://schemas.microsoft.com/office/drawing/2014/main" xmlns="" id="{50ADAB49-8A88-402F-924A-5E7EC1CB825A}"/>
              </a:ext>
            </a:extLst>
          </p:cNvPr>
          <p:cNvCxnSpPr>
            <a:cxnSpLocks/>
          </p:cNvCxnSpPr>
          <p:nvPr/>
        </p:nvCxnSpPr>
        <p:spPr>
          <a:xfrm flipV="1">
            <a:off x="969734" y="2928834"/>
            <a:ext cx="2799188" cy="311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4">
            <a:extLst>
              <a:ext uri="{FF2B5EF4-FFF2-40B4-BE49-F238E27FC236}">
                <a16:creationId xmlns:a16="http://schemas.microsoft.com/office/drawing/2014/main" xmlns="" id="{50ADAB49-8A88-402F-924A-5E7EC1CB825A}"/>
              </a:ext>
            </a:extLst>
          </p:cNvPr>
          <p:cNvCxnSpPr>
            <a:cxnSpLocks/>
          </p:cNvCxnSpPr>
          <p:nvPr/>
        </p:nvCxnSpPr>
        <p:spPr>
          <a:xfrm flipV="1">
            <a:off x="998932" y="3595003"/>
            <a:ext cx="2769990" cy="311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4">
            <a:extLst>
              <a:ext uri="{FF2B5EF4-FFF2-40B4-BE49-F238E27FC236}">
                <a16:creationId xmlns:a16="http://schemas.microsoft.com/office/drawing/2014/main" xmlns="" id="{50ADAB49-8A88-402F-924A-5E7EC1CB825A}"/>
              </a:ext>
            </a:extLst>
          </p:cNvPr>
          <p:cNvCxnSpPr>
            <a:cxnSpLocks/>
          </p:cNvCxnSpPr>
          <p:nvPr/>
        </p:nvCxnSpPr>
        <p:spPr>
          <a:xfrm>
            <a:off x="5342484" y="2609109"/>
            <a:ext cx="2402211" cy="0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4">
            <a:extLst>
              <a:ext uri="{FF2B5EF4-FFF2-40B4-BE49-F238E27FC236}">
                <a16:creationId xmlns:a16="http://schemas.microsoft.com/office/drawing/2014/main" xmlns="" id="{50ADAB49-8A88-402F-924A-5E7EC1CB825A}"/>
              </a:ext>
            </a:extLst>
          </p:cNvPr>
          <p:cNvCxnSpPr>
            <a:cxnSpLocks/>
          </p:cNvCxnSpPr>
          <p:nvPr/>
        </p:nvCxnSpPr>
        <p:spPr>
          <a:xfrm>
            <a:off x="5342483" y="3243308"/>
            <a:ext cx="2402211" cy="0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/>
          <p:cNvSpPr/>
          <p:nvPr/>
        </p:nvSpPr>
        <p:spPr>
          <a:xfrm>
            <a:off x="919517" y="1559785"/>
            <a:ext cx="367138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k-KZ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Экономиканың </a:t>
            </a:r>
            <a:r>
              <a:rPr lang="kk-KZ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дамуына</a:t>
            </a:r>
          </a:p>
          <a:p>
            <a:r>
              <a:rPr lang="kk-KZ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ағдайдар жасау</a:t>
            </a:r>
            <a:endParaRPr lang="ru-RU" sz="16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9" name="Straight Connector 4">
            <a:extLst>
              <a:ext uri="{FF2B5EF4-FFF2-40B4-BE49-F238E27FC236}">
                <a16:creationId xmlns:a16="http://schemas.microsoft.com/office/drawing/2014/main" xmlns="" id="{50ADAB49-8A88-402F-924A-5E7EC1CB825A}"/>
              </a:ext>
            </a:extLst>
          </p:cNvPr>
          <p:cNvCxnSpPr>
            <a:cxnSpLocks/>
          </p:cNvCxnSpPr>
          <p:nvPr/>
        </p:nvCxnSpPr>
        <p:spPr>
          <a:xfrm flipV="1">
            <a:off x="994250" y="2205196"/>
            <a:ext cx="2799188" cy="311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Прямоугольник 39"/>
          <p:cNvSpPr/>
          <p:nvPr/>
        </p:nvSpPr>
        <p:spPr>
          <a:xfrm>
            <a:off x="656279" y="816964"/>
            <a:ext cx="769575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k-KZ" sz="1400" b="1" dirty="0" smtClean="0">
                <a:latin typeface="Arial" pitchFamily="34" charset="0"/>
                <a:cs typeface="Arial" pitchFamily="34" charset="0"/>
              </a:rPr>
              <a:t>ҚР Премьер-Министрінің бірінші орынбасары Р.В. Склярмен бекітілген</a:t>
            </a:r>
            <a:endParaRPr lang="ru-RU" sz="1400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42" name="Picture 97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965" y="1687283"/>
            <a:ext cx="379237" cy="396959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" name="Picture 2" descr="C:\Users\N.Baizakov\Downloads\assets.pn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389" y="2359352"/>
            <a:ext cx="390814" cy="3833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" name="Рисунок 43">
            <a:extLst>
              <a:ext uri="{FF2B5EF4-FFF2-40B4-BE49-F238E27FC236}">
                <a16:creationId xmlns="" xmlns:a16="http://schemas.microsoft.com/office/drawing/2014/main" id="{9259A1A1-5239-4B05-9996-7F7C5561738C}"/>
              </a:ext>
            </a:extLst>
          </p:cNvPr>
          <p:cNvPicPr>
            <a:picLocks noChangeAspect="1"/>
          </p:cNvPicPr>
          <p:nvPr/>
        </p:nvPicPr>
        <p:blipFill>
          <a:blip r:embed="rId12">
            <a:biLevel thresh="75000"/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100000" contrast="-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29753" y="3778377"/>
            <a:ext cx="348544" cy="410840"/>
          </a:xfrm>
          <a:prstGeom prst="rect">
            <a:avLst/>
          </a:prstGeom>
        </p:spPr>
      </p:pic>
      <p:pic>
        <p:nvPicPr>
          <p:cNvPr id="47" name="Рисунок 46"/>
          <p:cNvPicPr>
            <a:picLocks noChangeAspect="1"/>
          </p:cNvPicPr>
          <p:nvPr/>
        </p:nvPicPr>
        <p:blipFill>
          <a:blip r:embed="rId14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7424" y="1839820"/>
            <a:ext cx="408727" cy="41410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022134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394" y="1345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6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AutoShap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394" y="1345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1143204" y="153"/>
            <a:ext cx="119056" cy="119056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10">
              <a:defRPr/>
            </a:pPr>
            <a:endParaRPr lang="en-GB" sz="1125" dirty="0" err="1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41" name="Straight Connector 32">
            <a:extLst>
              <a:ext uri="{FF2B5EF4-FFF2-40B4-BE49-F238E27FC236}">
                <a16:creationId xmlns="" xmlns:a16="http://schemas.microsoft.com/office/drawing/2014/main" id="{6C0B85D7-80A1-4B3A-96B4-E30488937587}"/>
              </a:ext>
            </a:extLst>
          </p:cNvPr>
          <p:cNvCxnSpPr/>
          <p:nvPr/>
        </p:nvCxnSpPr>
        <p:spPr>
          <a:xfrm>
            <a:off x="0" y="722595"/>
            <a:ext cx="9144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8797159" y="4897279"/>
            <a:ext cx="346841" cy="2462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k-KZ" sz="1000" dirty="0">
                <a:solidFill>
                  <a:srgbClr val="000000"/>
                </a:solidFill>
                <a:latin typeface="Calibri" panose="020F0502020204030204" pitchFamily="34" charset="0"/>
                <a:ea typeface="ＭＳ Ｐゴシック"/>
              </a:rPr>
              <a:t>8</a:t>
            </a:r>
            <a:endParaRPr lang="kk-KZ" sz="1000" dirty="0" smtClean="0">
              <a:solidFill>
                <a:srgbClr val="000000"/>
              </a:solidFill>
              <a:latin typeface="Calibri" panose="020F0502020204030204" pitchFamily="34" charset="0"/>
              <a:ea typeface="ＭＳ Ｐゴシック"/>
            </a:endParaRPr>
          </a:p>
        </p:txBody>
      </p:sp>
      <p:sp>
        <p:nvSpPr>
          <p:cNvPr id="31" name="Объект 1"/>
          <p:cNvSpPr txBox="1">
            <a:spLocks/>
          </p:cNvSpPr>
          <p:nvPr/>
        </p:nvSpPr>
        <p:spPr>
          <a:xfrm>
            <a:off x="112432" y="80538"/>
            <a:ext cx="8769841" cy="435812"/>
          </a:xfrm>
          <a:prstGeom prst="rect">
            <a:avLst/>
          </a:prstGeom>
        </p:spPr>
        <p:txBody>
          <a:bodyPr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ru-RU" sz="1800" b="1" cap="small" dirty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Өңірлерді </a:t>
            </a:r>
            <a:r>
              <a:rPr lang="ru-RU" sz="1800" b="1" cap="small" dirty="0" err="1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одан</a:t>
            </a:r>
            <a:r>
              <a:rPr lang="ru-RU" sz="1800" b="1" cap="small" dirty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800" b="1" cap="small" dirty="0" err="1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әрі</a:t>
            </a:r>
            <a:r>
              <a:rPr lang="ru-RU" sz="1800" b="1" cap="small" dirty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800" b="1" cap="small" dirty="0" err="1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дамыту</a:t>
            </a:r>
            <a:r>
              <a:rPr lang="ru-RU" sz="1800" b="1" cap="small" dirty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800" b="1" cap="small" dirty="0" err="1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бағытында</a:t>
            </a:r>
            <a:r>
              <a:rPr lang="ru-RU" sz="1800" b="1" cap="small" dirty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800" b="1" cap="small" dirty="0" err="1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елдің</a:t>
            </a:r>
            <a:r>
              <a:rPr lang="ru-RU" sz="1800" b="1" cap="small" dirty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800" b="1" cap="small" dirty="0" err="1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әкімшілік-аумақтық</a:t>
            </a:r>
            <a:r>
              <a:rPr lang="ru-RU" sz="1800" b="1" cap="small" dirty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800" b="1" cap="small" dirty="0" err="1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құрылысын</a:t>
            </a:r>
            <a:r>
              <a:rPr lang="ru-RU" sz="1800" b="1" cap="small" dirty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800" b="1" cap="small" dirty="0" err="1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жетілдіру</a:t>
            </a:r>
            <a:r>
              <a:rPr lang="ru-RU" sz="1800" b="1" cap="small" dirty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800" b="1" cap="small" dirty="0" err="1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мәселелері</a:t>
            </a:r>
            <a:r>
              <a:rPr lang="ru-RU" sz="1800" b="1" cap="small" dirty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1065243" y="3287753"/>
            <a:ext cx="786305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kk-KZ" sz="1200" dirty="0" smtClean="0">
                <a:latin typeface="Arial" panose="020B0604020202020204" pitchFamily="34" charset="0"/>
                <a:ea typeface="Times New Roman" panose="02020603050405020304" pitchFamily="18" charset="0"/>
              </a:rPr>
              <a:t>ҚР Премьер-Министрінің 2022 жылғы 11 қарашадағы </a:t>
            </a:r>
            <a:r>
              <a:rPr lang="kk-KZ" sz="1200" b="1" dirty="0" smtClean="0">
                <a:latin typeface="Arial" panose="020B0604020202020204" pitchFamily="34" charset="0"/>
                <a:ea typeface="Times New Roman" panose="02020603050405020304" pitchFamily="18" charset="0"/>
              </a:rPr>
              <a:t>№181-ө</a:t>
            </a:r>
            <a:r>
              <a:rPr lang="kk-KZ" sz="1200" dirty="0" smtClean="0">
                <a:latin typeface="Arial" panose="020B0604020202020204" pitchFamily="34" charset="0"/>
                <a:ea typeface="Times New Roman" panose="02020603050405020304" pitchFamily="18" charset="0"/>
              </a:rPr>
              <a:t> өкіміне сәйкес </a:t>
            </a:r>
            <a:r>
              <a:rPr lang="kk-KZ" sz="1200" b="1" dirty="0" smtClean="0">
                <a:latin typeface="Arial" panose="020B0604020202020204" pitchFamily="34" charset="0"/>
                <a:ea typeface="Times New Roman" panose="02020603050405020304" pitchFamily="18" charset="0"/>
              </a:rPr>
              <a:t>«Қазақстан Республикасының әкімшілік-аумақтық құрылысын жетілдіру мәселелері жөніндегі комиссияның құрамы» </a:t>
            </a:r>
            <a:r>
              <a:rPr lang="kk-KZ" sz="1200" dirty="0" smtClean="0">
                <a:latin typeface="Arial" panose="020B0604020202020204" pitchFamily="34" charset="0"/>
                <a:ea typeface="Times New Roman" panose="02020603050405020304" pitchFamily="18" charset="0"/>
              </a:rPr>
              <a:t>бекітілді </a:t>
            </a:r>
            <a:endParaRPr lang="ru-RU" sz="1200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1065244" y="4708520"/>
            <a:ext cx="807875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k-KZ" sz="12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Өңірлерді одан әрі дамыту бағытында елдің </a:t>
            </a:r>
            <a:r>
              <a:rPr lang="kk-KZ" sz="12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әкімшілік-аумақтық құрылысын жетілдіру </a:t>
            </a:r>
            <a:r>
              <a:rPr lang="kk-KZ" sz="12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әселелері </a:t>
            </a:r>
            <a:endParaRPr lang="ru-RU" sz="12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6" name="Рисунок 15">
            <a:extLst>
              <a:ext uri="{FF2B5EF4-FFF2-40B4-BE49-F238E27FC236}">
                <a16:creationId xmlns="" xmlns:a16="http://schemas.microsoft.com/office/drawing/2014/main" id="{BE7C1517-5DF4-43E4-A585-E06D52AB6F8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608" y="4547420"/>
            <a:ext cx="422103" cy="438099"/>
          </a:xfrm>
          <a:prstGeom prst="rect">
            <a:avLst/>
          </a:prstGeom>
        </p:spPr>
      </p:pic>
      <p:pic>
        <p:nvPicPr>
          <p:cNvPr id="17" name="Picture 2" descr="C:\Users\A.Meirembayev\Downloads\group.png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608" y="3952632"/>
            <a:ext cx="422102" cy="473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Прямоугольник 17"/>
          <p:cNvSpPr/>
          <p:nvPr/>
        </p:nvSpPr>
        <p:spPr>
          <a:xfrm>
            <a:off x="1065243" y="3963425"/>
            <a:ext cx="786305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kk-KZ" sz="12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ұрамы: </a:t>
            </a:r>
            <a:r>
              <a:rPr lang="kk-KZ" sz="12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Р Үкімет аппараты мен Орталық сайлау комиссиясының және Жоғарғы Сотының жанындағы Соттардың қызметін қамтамасыз ету департаментінің мүшелері, мүдделі министрліктердің вице-министрлері мен облыс әкімдерінің орынбасарлары</a:t>
            </a:r>
          </a:p>
        </p:txBody>
      </p:sp>
      <p:pic>
        <p:nvPicPr>
          <p:cNvPr id="19" name="Рисунок 18">
            <a:extLst>
              <a:ext uri="{FF2B5EF4-FFF2-40B4-BE49-F238E27FC236}">
                <a16:creationId xmlns="" xmlns:a16="http://schemas.microsoft.com/office/drawing/2014/main" id="{BE7C1517-5DF4-43E4-A585-E06D52AB6F81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608" y="2448145"/>
            <a:ext cx="562395" cy="561209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1065243" y="831748"/>
            <a:ext cx="764130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kk-KZ" sz="1400" dirty="0">
                <a:latin typeface="Arial" panose="020B0604020202020204" pitchFamily="34" charset="0"/>
                <a:ea typeface="Times New Roman" panose="02020603050405020304" pitchFamily="18" charset="0"/>
              </a:rPr>
              <a:t>Шекара маңындағы аумақтардың </a:t>
            </a:r>
            <a:r>
              <a:rPr lang="kk-KZ" sz="1400" b="1" dirty="0">
                <a:latin typeface="Arial" panose="020B0604020202020204" pitchFamily="34" charset="0"/>
                <a:ea typeface="Times New Roman" panose="02020603050405020304" pitchFamily="18" charset="0"/>
              </a:rPr>
              <a:t>әкімшілік маңыздылығын</a:t>
            </a:r>
            <a:r>
              <a:rPr lang="kk-KZ" sz="1400" dirty="0">
                <a:latin typeface="Arial" panose="020B0604020202020204" pitchFamily="34" charset="0"/>
                <a:ea typeface="Times New Roman" panose="02020603050405020304" pitchFamily="18" charset="0"/>
              </a:rPr>
              <a:t> арттыру мақсатында жаңа аудандар құрылды</a:t>
            </a:r>
            <a:endParaRPr lang="ru-RU" sz="1400" dirty="0">
              <a:latin typeface="Arial" panose="020B0604020202020204" pitchFamily="34" charset="0"/>
              <a:ea typeface="Times New Roman" panose="02020603050405020304" pitchFamily="18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957484" y="1389527"/>
            <a:ext cx="797081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kk-KZ" sz="12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үркістан облысы, </a:t>
            </a:r>
            <a:r>
              <a:rPr lang="kk-KZ" sz="12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ақтаарал </a:t>
            </a:r>
            <a:r>
              <a:rPr lang="kk-KZ" sz="12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уданы – 2018 жылы Мақтаарал және Жетісай аудандары құрылды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kk-KZ" sz="12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үркістан облысы, Сарыағаш ауданы – 2018 жылы Келес және Сарыағаш аудандары құрылды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kk-KZ" sz="12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лматы облысы, Райымбек ауданы – </a:t>
            </a:r>
            <a:r>
              <a:rPr lang="kk-KZ" sz="12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2018 жылы Кеген </a:t>
            </a:r>
            <a:r>
              <a:rPr lang="kk-KZ" sz="12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әне Райымбек аудандары құрылды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kk-KZ" sz="12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ығыс Қазақстан облысы, Тарбағатай ауданы – </a:t>
            </a:r>
            <a:r>
              <a:rPr lang="kk-KZ" sz="12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2022 жылы Тарбағатай </a:t>
            </a:r>
            <a:r>
              <a:rPr lang="kk-KZ" sz="12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әне Ақсуат аудандары құрылды</a:t>
            </a:r>
            <a:endParaRPr lang="ru-RU" sz="12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2" name="Straight Connector 32">
            <a:extLst>
              <a:ext uri="{FF2B5EF4-FFF2-40B4-BE49-F238E27FC236}">
                <a16:creationId xmlns="" xmlns:a16="http://schemas.microsoft.com/office/drawing/2014/main" id="{6C0B85D7-80A1-4B3A-96B4-E30488937587}"/>
              </a:ext>
            </a:extLst>
          </p:cNvPr>
          <p:cNvCxnSpPr/>
          <p:nvPr/>
        </p:nvCxnSpPr>
        <p:spPr>
          <a:xfrm>
            <a:off x="0" y="2305688"/>
            <a:ext cx="9144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reeform 64">
            <a:extLst>
              <a:ext uri="{FF2B5EF4-FFF2-40B4-BE49-F238E27FC236}">
                <a16:creationId xmlns:a16="http://schemas.microsoft.com/office/drawing/2014/main" xmlns="" id="{EE53E58D-0A07-4B1C-B5C4-85DFC1214AEB}"/>
              </a:ext>
            </a:extLst>
          </p:cNvPr>
          <p:cNvSpPr>
            <a:spLocks/>
          </p:cNvSpPr>
          <p:nvPr/>
        </p:nvSpPr>
        <p:spPr bwMode="auto">
          <a:xfrm>
            <a:off x="514065" y="888640"/>
            <a:ext cx="403479" cy="396769"/>
          </a:xfrm>
          <a:custGeom>
            <a:avLst/>
            <a:gdLst>
              <a:gd name="T0" fmla="*/ 31 w 229"/>
              <a:gd name="T1" fmla="*/ 83 h 187"/>
              <a:gd name="T2" fmla="*/ 73 w 229"/>
              <a:gd name="T3" fmla="*/ 125 h 187"/>
              <a:gd name="T4" fmla="*/ 198 w 229"/>
              <a:gd name="T5" fmla="*/ 0 h 187"/>
              <a:gd name="T6" fmla="*/ 229 w 229"/>
              <a:gd name="T7" fmla="*/ 31 h 187"/>
              <a:gd name="T8" fmla="*/ 73 w 229"/>
              <a:gd name="T9" fmla="*/ 187 h 187"/>
              <a:gd name="T10" fmla="*/ 41 w 229"/>
              <a:gd name="T11" fmla="*/ 155 h 187"/>
              <a:gd name="T12" fmla="*/ 0 w 229"/>
              <a:gd name="T13" fmla="*/ 114 h 187"/>
              <a:gd name="T14" fmla="*/ 31 w 229"/>
              <a:gd name="T15" fmla="*/ 83 h 1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29" h="187">
                <a:moveTo>
                  <a:pt x="31" y="83"/>
                </a:moveTo>
                <a:cubicBezTo>
                  <a:pt x="73" y="125"/>
                  <a:pt x="73" y="125"/>
                  <a:pt x="73" y="125"/>
                </a:cubicBezTo>
                <a:cubicBezTo>
                  <a:pt x="198" y="0"/>
                  <a:pt x="198" y="0"/>
                  <a:pt x="198" y="0"/>
                </a:cubicBezTo>
                <a:cubicBezTo>
                  <a:pt x="229" y="31"/>
                  <a:pt x="229" y="31"/>
                  <a:pt x="229" y="31"/>
                </a:cubicBezTo>
                <a:cubicBezTo>
                  <a:pt x="73" y="187"/>
                  <a:pt x="73" y="187"/>
                  <a:pt x="73" y="187"/>
                </a:cubicBezTo>
                <a:cubicBezTo>
                  <a:pt x="64" y="178"/>
                  <a:pt x="53" y="168"/>
                  <a:pt x="41" y="155"/>
                </a:cubicBezTo>
                <a:cubicBezTo>
                  <a:pt x="29" y="143"/>
                  <a:pt x="16" y="130"/>
                  <a:pt x="0" y="114"/>
                </a:cubicBezTo>
                <a:lnTo>
                  <a:pt x="31" y="83"/>
                </a:lnTo>
                <a:close/>
              </a:path>
            </a:pathLst>
          </a:custGeom>
          <a:solidFill>
            <a:srgbClr val="0070C0"/>
          </a:solidFill>
          <a:ln>
            <a:noFill/>
          </a:ln>
        </p:spPr>
        <p:txBody>
          <a:bodyPr/>
          <a:lstStyle/>
          <a:p>
            <a:pPr marL="0" marR="0" lvl="0" indent="0" defTabSz="104261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034374" y="2460837"/>
            <a:ext cx="781703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k-KZ" sz="1400" dirty="0">
                <a:latin typeface="Arial" panose="020B0604020202020204" pitchFamily="34" charset="0"/>
                <a:ea typeface="Times New Roman" panose="02020603050405020304" pitchFamily="18" charset="0"/>
              </a:rPr>
              <a:t>Шекара маңындағы бұрынғы ауылдық аудандардың статусын қалпына келтіру мәселелері </a:t>
            </a:r>
            <a:r>
              <a:rPr lang="kk-KZ" sz="1400" dirty="0" smtClean="0">
                <a:latin typeface="Arial" panose="020B0604020202020204" pitchFamily="34" charset="0"/>
                <a:ea typeface="Times New Roman" panose="02020603050405020304" pitchFamily="18" charset="0"/>
              </a:rPr>
              <a:t>қарастырылуда </a:t>
            </a:r>
            <a:r>
              <a:rPr lang="kk-KZ" sz="1200" b="1" dirty="0" smtClean="0">
                <a:latin typeface="Arial" panose="020B0604020202020204" pitchFamily="34" charset="0"/>
                <a:ea typeface="Times New Roman" panose="02020603050405020304" pitchFamily="18" charset="0"/>
              </a:rPr>
              <a:t>(Катонқарағай</a:t>
            </a:r>
            <a:r>
              <a:rPr lang="kk-KZ" sz="1200" b="1" dirty="0">
                <a:latin typeface="Arial" panose="020B0604020202020204" pitchFamily="34" charset="0"/>
                <a:ea typeface="Times New Roman" panose="02020603050405020304" pitchFamily="18" charset="0"/>
              </a:rPr>
              <a:t>, Үлкен Нарын, Күршім, Марқакөл, Мақаншы және т.б.)</a:t>
            </a:r>
            <a:r>
              <a:rPr lang="kk-KZ" sz="1200" dirty="0"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endParaRPr lang="ru-RU" dirty="0"/>
          </a:p>
        </p:txBody>
      </p:sp>
      <p:cxnSp>
        <p:nvCxnSpPr>
          <p:cNvPr id="25" name="Straight Connector 32">
            <a:extLst>
              <a:ext uri="{FF2B5EF4-FFF2-40B4-BE49-F238E27FC236}">
                <a16:creationId xmlns="" xmlns:a16="http://schemas.microsoft.com/office/drawing/2014/main" id="{6C0B85D7-80A1-4B3A-96B4-E30488937587}"/>
              </a:ext>
            </a:extLst>
          </p:cNvPr>
          <p:cNvCxnSpPr/>
          <p:nvPr/>
        </p:nvCxnSpPr>
        <p:spPr>
          <a:xfrm>
            <a:off x="0" y="3160994"/>
            <a:ext cx="9144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Рисунок 11"/>
          <p:cNvPicPr>
            <a:picLocks noChangeAspect="1"/>
          </p:cNvPicPr>
          <p:nvPr/>
        </p:nvPicPr>
        <p:blipFill>
          <a:blip r:embed="rId10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812" y="3377962"/>
            <a:ext cx="452076" cy="4354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922074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Подзаголовок 4">
            <a:extLst>
              <a:ext uri="{FF2B5EF4-FFF2-40B4-BE49-F238E27FC236}">
                <a16:creationId xmlns:a16="http://schemas.microsoft.com/office/drawing/2014/main" xmlns="" id="{3D9B65B1-E77D-8F65-3DD4-ED1B2C5D4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1697677"/>
            <a:ext cx="9144000" cy="1314450"/>
          </a:xfrm>
        </p:spPr>
        <p:txBody>
          <a:bodyPr anchor="ctr">
            <a:noAutofit/>
          </a:bodyPr>
          <a:lstStyle/>
          <a:p>
            <a:pPr marL="0" indent="0">
              <a:lnSpc>
                <a:spcPct val="100000"/>
              </a:lnSpc>
              <a:spcBef>
                <a:spcPts val="450"/>
              </a:spcBef>
              <a:buNone/>
            </a:pPr>
            <a:r>
              <a:rPr lang="ru-RU" sz="28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ЫҢДАҒАНДАРЫҢЫЗҒА РАХМЕТ!</a:t>
            </a:r>
            <a:endParaRPr lang="ru-RU" sz="28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70683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O0Lj5xeEWwyXimCjxEs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O0Lj5xeEWwyXimCjxEs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O0Lj5xeEWwyXimCjxEs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O0Lj5xeEWwyXimCjxEs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O0Lj5xeEWwyXimCjxEs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tjZ14kAE.7eSgJ4dduF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tjZ14kAE.7eSgJ4ddu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capUTVQFyESy2vCPZub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capUTVQFyESy2vCPZub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capUTVQFyESy2vCPZub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O0Lj5xeEWwyXimCjxEs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O0Lj5xeEWwyXimCjxEs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O0Lj5xeEWwyXimCjxEsA"/>
</p:tagLst>
</file>

<file path=ppt/theme/theme1.xml><?xml version="1.0" encoding="utf-8"?>
<a:theme xmlns:a="http://schemas.openxmlformats.org/drawingml/2006/main" name="1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195</TotalTime>
  <Words>826</Words>
  <Application>Microsoft Office PowerPoint</Application>
  <PresentationFormat>Экран (16:9)</PresentationFormat>
  <Paragraphs>121</Paragraphs>
  <Slides>9</Slides>
  <Notes>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23" baseType="lpstr">
      <vt:lpstr>ＭＳ Ｐゴシック</vt:lpstr>
      <vt:lpstr>Arial</vt:lpstr>
      <vt:lpstr>Calibri</vt:lpstr>
      <vt:lpstr>Calibri Light</vt:lpstr>
      <vt:lpstr>Century Gothic</vt:lpstr>
      <vt:lpstr>Segoe UI Black</vt:lpstr>
      <vt:lpstr>Segoe UI Light</vt:lpstr>
      <vt:lpstr>Tahoma</vt:lpstr>
      <vt:lpstr>Times New Roman</vt:lpstr>
      <vt:lpstr>Wingdings</vt:lpstr>
      <vt:lpstr>1_Тема Office</vt:lpstr>
      <vt:lpstr>2_Тема Office</vt:lpstr>
      <vt:lpstr>3_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Мухтар Абуталип</dc:creator>
  <cp:lastModifiedBy>Нурлан Максутов</cp:lastModifiedBy>
  <cp:revision>744</cp:revision>
  <cp:lastPrinted>2023-05-24T05:28:31Z</cp:lastPrinted>
  <dcterms:created xsi:type="dcterms:W3CDTF">2022-12-05T15:21:27Z</dcterms:created>
  <dcterms:modified xsi:type="dcterms:W3CDTF">2023-05-29T10:46:15Z</dcterms:modified>
</cp:coreProperties>
</file>